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878" r:id="rId4"/>
    <p:sldMasterId id="2147483971" r:id="rId5"/>
  </p:sldMasterIdLst>
  <p:notesMasterIdLst>
    <p:notesMasterId r:id="rId21"/>
  </p:notesMasterIdLst>
  <p:sldIdLst>
    <p:sldId id="319" r:id="rId6"/>
    <p:sldId id="482" r:id="rId7"/>
    <p:sldId id="321" r:id="rId8"/>
    <p:sldId id="477" r:id="rId9"/>
    <p:sldId id="354" r:id="rId10"/>
    <p:sldId id="478" r:id="rId11"/>
    <p:sldId id="476" r:id="rId12"/>
    <p:sldId id="480" r:id="rId13"/>
    <p:sldId id="481" r:id="rId14"/>
    <p:sldId id="384" r:id="rId15"/>
    <p:sldId id="463" r:id="rId16"/>
    <p:sldId id="426" r:id="rId17"/>
    <p:sldId id="428" r:id="rId18"/>
    <p:sldId id="479" r:id="rId19"/>
    <p:sldId id="293" r:id="rId20"/>
  </p:sldIdLst>
  <p:sldSz cx="12192000" cy="6858000"/>
  <p:notesSz cx="6718300" cy="98552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63">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DC8363A-B06C-0771-1C7F-75DB66964E32}" name="DOUBRAVA Roman (CINEA)" initials="D(" userId="S::roman.doubrava@ec.europa.eu::6cd883ec-4d34-4446-9566-603b657157ac" providerId="AD"/>
  <p188:author id="{D7DB3244-4B35-560D-4EDE-3345354AA76C}" name="DIMECH Maria (CINEA)" initials="D(" userId="S::maria.dimech@ec.europa.eu::b8e4883d-9a2a-43b3-aa76-a15b8bc10440" providerId="AD"/>
  <p188:author id="{0ED13B46-8766-B303-8AD8-40A1626A345A}" name="DIMECH Maria (CINEA)" initials="DM(" userId="S-1-5-21-1606980848-2025429265-839522115-1441205" providerId="AD"/>
  <p188:author id="{0DBCAB51-8FAB-240B-FB4B-98DEF3EA3D51}" name="CAROLI Giorgia (CINEA)" initials="C(" userId="S::giorgia.caroli@ec.europa.eu::86f03537-7a55-4a49-9a29-ac1467d25f4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evim-Buesra.AKTAS@ec.europa.eu" initials="" lastIdx="2" clrIdx="0"/>
  <p:cmAuthor id="2" name="COBBAERT Alexandre (CINEA)" initials="" lastIdx="4" clrIdx="13"/>
  <p:cmAuthor id="3" name="VELKOVA Maria (CLIMA)" initials="" lastIdx="21" clrIdx="2"/>
  <p:cmAuthor id="4" name="Lonsdale, Jonathan" initials="" lastIdx="28" clrIdx="3"/>
  <p:cmAuthor id="5" name="Lemercier, Thibaud" initials="LT" lastIdx="67" clrIdx="18">
    <p:extLst>
      <p:ext uri="{19B8F6BF-5375-455C-9EA6-DF929625EA0E}">
        <p15:presenceInfo xmlns:p15="http://schemas.microsoft.com/office/powerpoint/2012/main" userId="S::54068@icf.com::ce5475fc-048c-4e45-9d9c-c62197f90144" providerId="AD"/>
      </p:ext>
    </p:extLst>
  </p:cmAuthor>
  <p:cmAuthor id="6" name="Audino, Aurora" initials="" lastIdx="3" clrIdx="5"/>
  <p:cmAuthor id="7" name="Jakob Wachsmuth" initials="" lastIdx="11" clrIdx="6"/>
  <p:cmAuthor id="8" name="Laura S Pereira" initials="" lastIdx="1" clrIdx="7"/>
  <p:cmAuthor id="9" name="DOUBRAVA Roman (CINEA)" initials="DR" lastIdx="3" clrIdx="19">
    <p:extLst>
      <p:ext uri="{19B8F6BF-5375-455C-9EA6-DF929625EA0E}">
        <p15:presenceInfo xmlns:p15="http://schemas.microsoft.com/office/powerpoint/2012/main" userId="DOUBRAVA Roman (CINEA)" providerId="None"/>
      </p:ext>
    </p:extLst>
  </p:cmAuthor>
  <p:cmAuthor id="10" name="PERELLE Marion (CLIMA)" initials="PM(" lastIdx="3" clrIdx="17">
    <p:extLst>
      <p:ext uri="{19B8F6BF-5375-455C-9EA6-DF929625EA0E}">
        <p15:presenceInfo xmlns:p15="http://schemas.microsoft.com/office/powerpoint/2012/main" userId="S-1-5-21-1606980848-2025429265-839522115-655671" providerId="AD"/>
      </p:ext>
    </p:extLst>
  </p:cmAuthor>
  <p:cmAuthor id="11" name="CHESOI Roxana (CLIMA)" initials="" lastIdx="14" clrIdx="10"/>
  <p:cmAuthor id="12" name="CAROLI Giorgia (CINEA-EXT)" initials="" lastIdx="13" clrIdx="11"/>
  <p:cmAuthor id="13" name="ALCOVERRO VIA Laura (CINEA)" initials="" lastIdx="3" clrIdx="12"/>
  <p:cmAuthor id="14" name="GOMEZ ANDRES Marta (CINEA)" initials="" lastIdx="1" clrIdx="14"/>
  <p:cmAuthor id="15" name="TEULING Floris (CINEA)" initials="TF(" lastIdx="13" clrIdx="15">
    <p:extLst>
      <p:ext uri="{19B8F6BF-5375-455C-9EA6-DF929625EA0E}">
        <p15:presenceInfo xmlns:p15="http://schemas.microsoft.com/office/powerpoint/2012/main" userId="S-1-5-21-1606980848-2025429265-839522115-1372805" providerId="AD"/>
      </p:ext>
    </p:extLst>
  </p:cmAuthor>
  <p:cmAuthor id="16" name="CAROLI Giorgia (CINEA-EXT)" initials="CG(" lastIdx="17" clrIdx="16">
    <p:extLst>
      <p:ext uri="{19B8F6BF-5375-455C-9EA6-DF929625EA0E}">
        <p15:presenceInfo xmlns:p15="http://schemas.microsoft.com/office/powerpoint/2012/main" userId="S-1-5-21-1606980848-2025429265-839522115-1305181" providerId="AD"/>
      </p:ext>
    </p:extLst>
  </p:cmAuthor>
  <p:cmAuthor id="17" name="DIMECH Maria (CINEA)" initials="DM(" lastIdx="2" clrIdx="20">
    <p:extLst>
      <p:ext uri="{19B8F6BF-5375-455C-9EA6-DF929625EA0E}">
        <p15:presenceInfo xmlns:p15="http://schemas.microsoft.com/office/powerpoint/2012/main" userId="S-1-5-21-1606980848-2025429265-839522115-14412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3BAA"/>
    <a:srgbClr val="4C9499"/>
    <a:srgbClr val="0864A7"/>
    <a:srgbClr val="45AFAD"/>
    <a:srgbClr val="AADFE7"/>
    <a:srgbClr val="8AFABD"/>
    <a:srgbClr val="79A8D2"/>
    <a:srgbClr val="3B82B1"/>
    <a:srgbClr val="9DC0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AC09B7-0D5D-4688-A4E5-41D75C1B0F08}" v="14" dt="2023-03-28T07:55:18.411"/>
    <p1510:client id="{C6E79882-0DFE-FFD4-5D76-C8B91A2FF3B5}" v="65" dt="2023-03-28T09:15:02.068"/>
  </p1510:revLst>
</p1510:revInfo>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4617" autoAdjust="0"/>
  </p:normalViewPr>
  <p:slideViewPr>
    <p:cSldViewPr snapToGrid="0">
      <p:cViewPr varScale="1">
        <p:scale>
          <a:sx n="65" d="100"/>
          <a:sy n="65" d="100"/>
        </p:scale>
        <p:origin x="1330" y="38"/>
      </p:cViewPr>
      <p:guideLst>
        <p:guide orient="horz" pos="2160"/>
        <p:guide pos="3863"/>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C25517-12CD-4756-95FA-BE468E8B08CB}" type="doc">
      <dgm:prSet loTypeId="urn:microsoft.com/office/officeart/2005/8/layout/hProcess9" loCatId="process" qsTypeId="urn:microsoft.com/office/officeart/2005/8/quickstyle/simple3" qsCatId="simple" csTypeId="urn:microsoft.com/office/officeart/2005/8/colors/colorful2" csCatId="colorful" phldr="1"/>
      <dgm:spPr/>
      <dgm:t>
        <a:bodyPr/>
        <a:lstStyle/>
        <a:p>
          <a:endParaRPr lang="en-GB"/>
        </a:p>
      </dgm:t>
    </dgm:pt>
    <dgm:pt modelId="{946C3BE4-D788-41DA-BAB4-42F4782AAED6}">
      <dgm:prSet/>
      <dgm:spPr/>
      <dgm:t>
        <a:bodyPr/>
        <a:lstStyle/>
        <a:p>
          <a:r>
            <a:rPr lang="de-AT"/>
            <a:t>Horizon Europe</a:t>
          </a:r>
        </a:p>
      </dgm:t>
    </dgm:pt>
    <dgm:pt modelId="{9ABD958D-1CE6-4D15-8529-10E06C7B779F}" type="parTrans" cxnId="{E6D59ECC-725D-40CF-BB8F-85C7AF4AED1A}">
      <dgm:prSet/>
      <dgm:spPr/>
      <dgm:t>
        <a:bodyPr/>
        <a:lstStyle/>
        <a:p>
          <a:endParaRPr lang="en-US"/>
        </a:p>
      </dgm:t>
    </dgm:pt>
    <dgm:pt modelId="{6ADA0AFD-78C4-4093-94DC-C0715CE47DD5}" type="sibTrans" cxnId="{E6D59ECC-725D-40CF-BB8F-85C7AF4AED1A}">
      <dgm:prSet/>
      <dgm:spPr/>
      <dgm:t>
        <a:bodyPr/>
        <a:lstStyle/>
        <a:p>
          <a:endParaRPr lang="en-US"/>
        </a:p>
      </dgm:t>
    </dgm:pt>
    <dgm:pt modelId="{989ADE39-0C03-4CE9-8DCB-A969DFA58BD9}">
      <dgm:prSet/>
      <dgm:spPr/>
      <dgm:t>
        <a:bodyPr/>
        <a:lstStyle/>
        <a:p>
          <a:r>
            <a:rPr lang="en-US"/>
            <a:t>European Innovation Council</a:t>
          </a:r>
          <a:endParaRPr lang="de-AT"/>
        </a:p>
      </dgm:t>
    </dgm:pt>
    <dgm:pt modelId="{9F8837B6-EB96-4F2B-851D-5044EC035E3C}" type="parTrans" cxnId="{3828EEB9-FA2C-4A18-88B1-A285BD6DD2B4}">
      <dgm:prSet/>
      <dgm:spPr/>
      <dgm:t>
        <a:bodyPr/>
        <a:lstStyle/>
        <a:p>
          <a:endParaRPr lang="en-US"/>
        </a:p>
      </dgm:t>
    </dgm:pt>
    <dgm:pt modelId="{01647771-5D99-4E50-8876-18F6A58D500B}" type="sibTrans" cxnId="{3828EEB9-FA2C-4A18-88B1-A285BD6DD2B4}">
      <dgm:prSet/>
      <dgm:spPr/>
      <dgm:t>
        <a:bodyPr/>
        <a:lstStyle/>
        <a:p>
          <a:endParaRPr lang="en-US"/>
        </a:p>
      </dgm:t>
    </dgm:pt>
    <dgm:pt modelId="{E67DF46A-D14A-4B70-ACE5-39C96ECAB072}">
      <dgm:prSet/>
      <dgm:spPr/>
      <dgm:t>
        <a:bodyPr/>
        <a:lstStyle/>
        <a:p>
          <a:r>
            <a:rPr lang="de-AT"/>
            <a:t>Research and Innovation</a:t>
          </a:r>
        </a:p>
      </dgm:t>
    </dgm:pt>
    <dgm:pt modelId="{EC84BECB-BA3C-4668-922B-9590FCAD2441}" type="parTrans" cxnId="{33C96A13-0167-4D58-B879-1869EE2020F5}">
      <dgm:prSet/>
      <dgm:spPr/>
      <dgm:t>
        <a:bodyPr/>
        <a:lstStyle/>
        <a:p>
          <a:endParaRPr lang="en-US"/>
        </a:p>
      </dgm:t>
    </dgm:pt>
    <dgm:pt modelId="{5A4447BD-D49C-4E37-934B-5C07C1AF3F7E}" type="sibTrans" cxnId="{33C96A13-0167-4D58-B879-1869EE2020F5}">
      <dgm:prSet/>
      <dgm:spPr/>
      <dgm:t>
        <a:bodyPr/>
        <a:lstStyle/>
        <a:p>
          <a:endParaRPr lang="en-US"/>
        </a:p>
      </dgm:t>
    </dgm:pt>
    <dgm:pt modelId="{BBD252E9-3206-406B-8865-3FA5AA3DF9B1}">
      <dgm:prSet/>
      <dgm:spPr/>
      <dgm:t>
        <a:bodyPr/>
        <a:lstStyle/>
        <a:p>
          <a:r>
            <a:rPr lang="de-AT"/>
            <a:t>Early </a:t>
          </a:r>
          <a:r>
            <a:rPr lang="de-AT" err="1"/>
            <a:t>adoption</a:t>
          </a:r>
          <a:r>
            <a:rPr lang="de-AT"/>
            <a:t>, </a:t>
          </a:r>
          <a:r>
            <a:rPr lang="de-AT" err="1"/>
            <a:t>start-ups</a:t>
          </a:r>
          <a:endParaRPr lang="de-AT"/>
        </a:p>
      </dgm:t>
    </dgm:pt>
    <dgm:pt modelId="{0E33DC0A-DD18-4A2C-8810-98258819F309}" type="parTrans" cxnId="{771DF320-EA35-4C60-AE34-3689F852E8F4}">
      <dgm:prSet/>
      <dgm:spPr/>
      <dgm:t>
        <a:bodyPr/>
        <a:lstStyle/>
        <a:p>
          <a:endParaRPr lang="en-US"/>
        </a:p>
      </dgm:t>
    </dgm:pt>
    <dgm:pt modelId="{B2801417-88DD-498B-AB2C-82F09596AC07}" type="sibTrans" cxnId="{771DF320-EA35-4C60-AE34-3689F852E8F4}">
      <dgm:prSet/>
      <dgm:spPr/>
      <dgm:t>
        <a:bodyPr/>
        <a:lstStyle/>
        <a:p>
          <a:endParaRPr lang="en-US"/>
        </a:p>
      </dgm:t>
    </dgm:pt>
    <dgm:pt modelId="{2B740BAF-1D20-41C6-9EE5-23FEF89E7D96}">
      <dgm:prSet/>
      <dgm:spPr/>
      <dgm:t>
        <a:bodyPr/>
        <a:lstStyle/>
        <a:p>
          <a:r>
            <a:rPr lang="de-AT"/>
            <a:t>LIFE </a:t>
          </a:r>
          <a:r>
            <a:rPr lang="de-AT" err="1"/>
            <a:t>programme</a:t>
          </a:r>
          <a:endParaRPr lang="de-AT"/>
        </a:p>
      </dgm:t>
    </dgm:pt>
    <dgm:pt modelId="{3B740505-D352-4367-A7F0-80A016FE7758}" type="parTrans" cxnId="{640B17E6-366C-4A4B-864C-E9767DD529C9}">
      <dgm:prSet/>
      <dgm:spPr/>
      <dgm:t>
        <a:bodyPr/>
        <a:lstStyle/>
        <a:p>
          <a:endParaRPr lang="en-US"/>
        </a:p>
      </dgm:t>
    </dgm:pt>
    <dgm:pt modelId="{FB668B56-9768-4ACB-A73D-517BF06EABD6}" type="sibTrans" cxnId="{640B17E6-366C-4A4B-864C-E9767DD529C9}">
      <dgm:prSet/>
      <dgm:spPr/>
      <dgm:t>
        <a:bodyPr/>
        <a:lstStyle/>
        <a:p>
          <a:endParaRPr lang="en-US"/>
        </a:p>
      </dgm:t>
    </dgm:pt>
    <dgm:pt modelId="{F2332EF1-988F-4EE1-BBA5-A2361FC9360D}">
      <dgm:prSet/>
      <dgm:spPr/>
      <dgm:t>
        <a:bodyPr/>
        <a:lstStyle/>
        <a:p>
          <a:r>
            <a:rPr lang="de-AT"/>
            <a:t>Pilot </a:t>
          </a:r>
          <a:r>
            <a:rPr lang="de-AT" err="1"/>
            <a:t>projects</a:t>
          </a:r>
          <a:r>
            <a:rPr lang="de-AT"/>
            <a:t> </a:t>
          </a:r>
          <a:r>
            <a:rPr lang="de-AT" err="1"/>
            <a:t>for</a:t>
          </a:r>
          <a:r>
            <a:rPr lang="de-AT"/>
            <a:t> </a:t>
          </a:r>
          <a:r>
            <a:rPr lang="de-AT" err="1"/>
            <a:t>mitigation</a:t>
          </a:r>
          <a:r>
            <a:rPr lang="de-AT"/>
            <a:t> and </a:t>
          </a:r>
          <a:r>
            <a:rPr lang="de-AT" err="1"/>
            <a:t>adaptation</a:t>
          </a:r>
          <a:endParaRPr lang="de-AT"/>
        </a:p>
      </dgm:t>
    </dgm:pt>
    <dgm:pt modelId="{7EFBFD30-582B-4FC9-9148-777FD362E312}" type="parTrans" cxnId="{13A50DE7-F37B-4DF7-B136-DA035C91C911}">
      <dgm:prSet/>
      <dgm:spPr/>
      <dgm:t>
        <a:bodyPr/>
        <a:lstStyle/>
        <a:p>
          <a:endParaRPr lang="en-US"/>
        </a:p>
      </dgm:t>
    </dgm:pt>
    <dgm:pt modelId="{3A77A241-C84D-45B9-91C7-82617205565D}" type="sibTrans" cxnId="{13A50DE7-F37B-4DF7-B136-DA035C91C911}">
      <dgm:prSet/>
      <dgm:spPr/>
      <dgm:t>
        <a:bodyPr/>
        <a:lstStyle/>
        <a:p>
          <a:endParaRPr lang="en-US"/>
        </a:p>
      </dgm:t>
    </dgm:pt>
    <dgm:pt modelId="{65718F2D-7FFA-487A-951A-533A56A6D4D1}">
      <dgm:prSet/>
      <dgm:spPr/>
      <dgm:t>
        <a:bodyPr/>
        <a:lstStyle/>
        <a:p>
          <a:r>
            <a:rPr lang="de-AT"/>
            <a:t>Innovation Fund</a:t>
          </a:r>
        </a:p>
      </dgm:t>
    </dgm:pt>
    <dgm:pt modelId="{A35B13C9-5207-42AA-A738-204AC40B76E5}" type="parTrans" cxnId="{2034C418-C1CD-4263-98AE-22241CAF7C09}">
      <dgm:prSet/>
      <dgm:spPr/>
      <dgm:t>
        <a:bodyPr/>
        <a:lstStyle/>
        <a:p>
          <a:endParaRPr lang="en-US"/>
        </a:p>
      </dgm:t>
    </dgm:pt>
    <dgm:pt modelId="{4FECF372-45DC-40CF-B8D4-D2CBF5C78F70}" type="sibTrans" cxnId="{2034C418-C1CD-4263-98AE-22241CAF7C09}">
      <dgm:prSet/>
      <dgm:spPr/>
      <dgm:t>
        <a:bodyPr/>
        <a:lstStyle/>
        <a:p>
          <a:endParaRPr lang="en-US"/>
        </a:p>
      </dgm:t>
    </dgm:pt>
    <dgm:pt modelId="{68195906-7669-4D96-9A3D-0B9DE369955A}">
      <dgm:prSet/>
      <dgm:spPr/>
      <dgm:t>
        <a:bodyPr/>
        <a:lstStyle/>
        <a:p>
          <a:pPr rtl="0"/>
          <a:r>
            <a:rPr lang="de-AT" b="1">
              <a:latin typeface="Arial"/>
            </a:rPr>
            <a:t>GRANTS</a:t>
          </a:r>
          <a:r>
            <a:rPr lang="de-AT">
              <a:latin typeface="Arial"/>
            </a:rPr>
            <a:t>: </a:t>
          </a:r>
          <a:r>
            <a:rPr lang="de-AT" err="1">
              <a:latin typeface="Arial"/>
            </a:rPr>
            <a:t>upscaling</a:t>
          </a:r>
          <a:r>
            <a:rPr lang="de-AT"/>
            <a:t> </a:t>
          </a:r>
          <a:r>
            <a:rPr lang="de-AT" err="1"/>
            <a:t>to</a:t>
          </a:r>
          <a:r>
            <a:rPr lang="de-AT"/>
            <a:t> </a:t>
          </a:r>
          <a:r>
            <a:rPr lang="de-AT" err="1"/>
            <a:t>commercial</a:t>
          </a:r>
          <a:r>
            <a:rPr lang="de-AT"/>
            <a:t> </a:t>
          </a:r>
          <a:r>
            <a:rPr lang="de-AT" err="1"/>
            <a:t>level</a:t>
          </a:r>
          <a:endParaRPr lang="de-AT"/>
        </a:p>
      </dgm:t>
    </dgm:pt>
    <dgm:pt modelId="{744AE9A6-4A1F-4599-849F-B90489BA6FC9}" type="parTrans" cxnId="{627C31E8-209E-4BC8-ACFF-ADA3CF35C750}">
      <dgm:prSet/>
      <dgm:spPr/>
      <dgm:t>
        <a:bodyPr/>
        <a:lstStyle/>
        <a:p>
          <a:endParaRPr lang="en-US"/>
        </a:p>
      </dgm:t>
    </dgm:pt>
    <dgm:pt modelId="{5776D1DB-92C7-425A-8479-C1CB379253E1}" type="sibTrans" cxnId="{627C31E8-209E-4BC8-ACFF-ADA3CF35C750}">
      <dgm:prSet/>
      <dgm:spPr/>
      <dgm:t>
        <a:bodyPr/>
        <a:lstStyle/>
        <a:p>
          <a:endParaRPr lang="en-US"/>
        </a:p>
      </dgm:t>
    </dgm:pt>
    <dgm:pt modelId="{4C3B4FAC-EC6D-4F2E-8CB5-A91B1673E20C}">
      <dgm:prSet/>
      <dgm:spPr/>
      <dgm:t>
        <a:bodyPr/>
        <a:lstStyle/>
        <a:p>
          <a:r>
            <a:rPr lang="de-AT" err="1"/>
            <a:t>Debt</a:t>
          </a:r>
          <a:r>
            <a:rPr lang="de-AT"/>
            <a:t> </a:t>
          </a:r>
          <a:r>
            <a:rPr lang="de-AT" err="1"/>
            <a:t>financing</a:t>
          </a:r>
          <a:endParaRPr lang="de-AT"/>
        </a:p>
      </dgm:t>
    </dgm:pt>
    <dgm:pt modelId="{BB634CCE-6E9D-4B6A-B327-F5D75DDAC580}" type="parTrans" cxnId="{BE53B335-5086-48DD-BFD3-D58AC77A8242}">
      <dgm:prSet/>
      <dgm:spPr/>
      <dgm:t>
        <a:bodyPr/>
        <a:lstStyle/>
        <a:p>
          <a:endParaRPr lang="en-US"/>
        </a:p>
      </dgm:t>
    </dgm:pt>
    <dgm:pt modelId="{B0C676B7-B492-45C1-9A83-F2672914C008}" type="sibTrans" cxnId="{BE53B335-5086-48DD-BFD3-D58AC77A8242}">
      <dgm:prSet/>
      <dgm:spPr/>
      <dgm:t>
        <a:bodyPr/>
        <a:lstStyle/>
        <a:p>
          <a:endParaRPr lang="en-US"/>
        </a:p>
      </dgm:t>
    </dgm:pt>
    <dgm:pt modelId="{82E3D9C0-5CA0-42B7-8477-3A5F67BFFCDB}">
      <dgm:prSet/>
      <dgm:spPr/>
      <dgm:t>
        <a:bodyPr/>
        <a:lstStyle/>
        <a:p>
          <a:r>
            <a:rPr lang="de-AT" err="1"/>
            <a:t>Connecting</a:t>
          </a:r>
          <a:r>
            <a:rPr lang="de-AT"/>
            <a:t> Europe Facility</a:t>
          </a:r>
        </a:p>
      </dgm:t>
    </dgm:pt>
    <dgm:pt modelId="{140EC949-EB18-48C4-94EB-B029E4A9BB2A}" type="parTrans" cxnId="{5A0ED88F-221A-4271-A083-47302CB21BD7}">
      <dgm:prSet/>
      <dgm:spPr/>
      <dgm:t>
        <a:bodyPr/>
        <a:lstStyle/>
        <a:p>
          <a:endParaRPr lang="en-US"/>
        </a:p>
      </dgm:t>
    </dgm:pt>
    <dgm:pt modelId="{B069B59D-0E3C-4B7A-A86B-04FD9DCDBD97}" type="sibTrans" cxnId="{5A0ED88F-221A-4271-A083-47302CB21BD7}">
      <dgm:prSet/>
      <dgm:spPr/>
      <dgm:t>
        <a:bodyPr/>
        <a:lstStyle/>
        <a:p>
          <a:endParaRPr lang="en-US"/>
        </a:p>
      </dgm:t>
    </dgm:pt>
    <dgm:pt modelId="{F660DD55-DC62-4799-9E28-414EC5962894}">
      <dgm:prSet/>
      <dgm:spPr/>
      <dgm:t>
        <a:bodyPr/>
        <a:lstStyle/>
        <a:p>
          <a:r>
            <a:rPr lang="de-AT" err="1"/>
            <a:t>InvestEU</a:t>
          </a:r>
          <a:r>
            <a:rPr lang="de-AT"/>
            <a:t> – EIB</a:t>
          </a:r>
        </a:p>
      </dgm:t>
    </dgm:pt>
    <dgm:pt modelId="{44F0D208-FB4D-4100-A09E-990E8BFC931E}" type="parTrans" cxnId="{E70A04B9-1868-445C-BA66-44F4A77FBEC2}">
      <dgm:prSet/>
      <dgm:spPr/>
      <dgm:t>
        <a:bodyPr/>
        <a:lstStyle/>
        <a:p>
          <a:endParaRPr lang="en-US"/>
        </a:p>
      </dgm:t>
    </dgm:pt>
    <dgm:pt modelId="{EF6AA962-9B6B-4DA1-8727-D942B23AA719}" type="sibTrans" cxnId="{E70A04B9-1868-445C-BA66-44F4A77FBEC2}">
      <dgm:prSet/>
      <dgm:spPr/>
      <dgm:t>
        <a:bodyPr/>
        <a:lstStyle/>
        <a:p>
          <a:endParaRPr lang="en-US"/>
        </a:p>
      </dgm:t>
    </dgm:pt>
    <dgm:pt modelId="{9354A0BE-24D2-4DD1-8406-CEE6E28E105C}">
      <dgm:prSet/>
      <dgm:spPr/>
      <dgm:t>
        <a:bodyPr/>
        <a:lstStyle/>
        <a:p>
          <a:r>
            <a:rPr lang="de-AT"/>
            <a:t>Transport </a:t>
          </a:r>
          <a:r>
            <a:rPr lang="de-AT" err="1"/>
            <a:t>facilities</a:t>
          </a:r>
          <a:r>
            <a:rPr lang="de-AT"/>
            <a:t> </a:t>
          </a:r>
          <a:r>
            <a:rPr lang="de-AT" err="1"/>
            <a:t>for</a:t>
          </a:r>
          <a:r>
            <a:rPr lang="de-AT"/>
            <a:t> </a:t>
          </a:r>
          <a:r>
            <a:rPr lang="de-AT" err="1"/>
            <a:t>energy</a:t>
          </a:r>
          <a:r>
            <a:rPr lang="de-AT"/>
            <a:t> and </a:t>
          </a:r>
          <a:r>
            <a:rPr lang="de-AT" err="1"/>
            <a:t>mobility</a:t>
          </a:r>
          <a:endParaRPr lang="de-AT"/>
        </a:p>
      </dgm:t>
    </dgm:pt>
    <dgm:pt modelId="{6DAF4480-37D0-49BC-9BE8-E325B8B29A4B}" type="parTrans" cxnId="{2BB8EA01-D55E-4C01-BA57-6E80567E92E6}">
      <dgm:prSet/>
      <dgm:spPr/>
      <dgm:t>
        <a:bodyPr/>
        <a:lstStyle/>
        <a:p>
          <a:endParaRPr lang="en-US"/>
        </a:p>
      </dgm:t>
    </dgm:pt>
    <dgm:pt modelId="{2A9325F7-72AB-4886-AB55-10A0E02AC9BA}" type="sibTrans" cxnId="{2BB8EA01-D55E-4C01-BA57-6E80567E92E6}">
      <dgm:prSet/>
      <dgm:spPr/>
      <dgm:t>
        <a:bodyPr/>
        <a:lstStyle/>
        <a:p>
          <a:endParaRPr lang="en-US"/>
        </a:p>
      </dgm:t>
    </dgm:pt>
    <dgm:pt modelId="{5D6CCD08-7A02-420D-A233-D3449BE29D90}">
      <dgm:prSet/>
      <dgm:spPr/>
      <dgm:t>
        <a:bodyPr/>
        <a:lstStyle/>
        <a:p>
          <a:endParaRPr lang="de-AT"/>
        </a:p>
      </dgm:t>
    </dgm:pt>
    <dgm:pt modelId="{428B9C48-94F8-4638-A108-BB397638B7B7}" type="sibTrans" cxnId="{DCA51C8B-08B2-4954-81F3-E72B864B509E}">
      <dgm:prSet/>
      <dgm:spPr/>
      <dgm:t>
        <a:bodyPr/>
        <a:lstStyle/>
        <a:p>
          <a:endParaRPr lang="en-US"/>
        </a:p>
      </dgm:t>
    </dgm:pt>
    <dgm:pt modelId="{4B23C005-0F3B-45CF-8D04-A557888FD834}" type="parTrans" cxnId="{DCA51C8B-08B2-4954-81F3-E72B864B509E}">
      <dgm:prSet/>
      <dgm:spPr/>
      <dgm:t>
        <a:bodyPr/>
        <a:lstStyle/>
        <a:p>
          <a:endParaRPr lang="en-US"/>
        </a:p>
      </dgm:t>
    </dgm:pt>
    <dgm:pt modelId="{DFBC98DD-A92E-4797-AC0C-F77ACA6795F2}">
      <dgm:prSet phldr="0"/>
      <dgm:spPr/>
      <dgm:t>
        <a:bodyPr/>
        <a:lstStyle/>
        <a:p>
          <a:pPr rtl="0"/>
          <a:r>
            <a:rPr lang="de-AT" b="1" err="1">
              <a:latin typeface="Arial"/>
            </a:rPr>
            <a:t>Auctions</a:t>
          </a:r>
          <a:r>
            <a:rPr lang="de-AT" b="1">
              <a:latin typeface="Arial"/>
            </a:rPr>
            <a:t>: </a:t>
          </a:r>
          <a:r>
            <a:rPr lang="de-AT">
              <a:latin typeface="Arial"/>
            </a:rPr>
            <a:t>roll-out </a:t>
          </a:r>
          <a:r>
            <a:rPr lang="de-AT" err="1">
              <a:latin typeface="Arial"/>
            </a:rPr>
            <a:t>of</a:t>
          </a:r>
          <a:r>
            <a:rPr lang="de-AT">
              <a:latin typeface="Arial"/>
            </a:rPr>
            <a:t> </a:t>
          </a:r>
          <a:r>
            <a:rPr lang="de-AT" err="1">
              <a:latin typeface="Arial"/>
            </a:rPr>
            <a:t>mature</a:t>
          </a:r>
          <a:r>
            <a:rPr lang="de-AT">
              <a:latin typeface="Arial"/>
            </a:rPr>
            <a:t> </a:t>
          </a:r>
          <a:r>
            <a:rPr lang="de-AT" err="1">
              <a:latin typeface="Arial"/>
            </a:rPr>
            <a:t>technologies</a:t>
          </a:r>
          <a:endParaRPr lang="de-AT">
            <a:latin typeface="Arial"/>
          </a:endParaRPr>
        </a:p>
      </dgm:t>
    </dgm:pt>
    <dgm:pt modelId="{2F2C183E-173F-4370-A9A0-5A95BA03441C}" type="parTrans" cxnId="{E1A91750-738A-4013-8400-79901E4C3072}">
      <dgm:prSet/>
      <dgm:spPr/>
      <dgm:t>
        <a:bodyPr/>
        <a:lstStyle/>
        <a:p>
          <a:endParaRPr lang="en-US"/>
        </a:p>
      </dgm:t>
    </dgm:pt>
    <dgm:pt modelId="{68B48AD4-1C60-4824-AA4F-93708A2466B5}" type="sibTrans" cxnId="{E1A91750-738A-4013-8400-79901E4C3072}">
      <dgm:prSet/>
      <dgm:spPr/>
      <dgm:t>
        <a:bodyPr/>
        <a:lstStyle/>
        <a:p>
          <a:endParaRPr lang="en-US"/>
        </a:p>
      </dgm:t>
    </dgm:pt>
    <dgm:pt modelId="{C1159491-64F6-4CCE-B375-9F8B8FA739C8}">
      <dgm:prSet/>
      <dgm:spPr>
        <a:solidFill>
          <a:schemeClr val="accent3">
            <a:lumMod val="40000"/>
            <a:lumOff val="60000"/>
          </a:schemeClr>
        </a:solidFill>
      </dgm:spPr>
      <dgm:t>
        <a:bodyPr/>
        <a:lstStyle/>
        <a:p>
          <a:r>
            <a:rPr lang="de-AT" b="0" err="1"/>
            <a:t>Modernisation</a:t>
          </a:r>
          <a:r>
            <a:rPr lang="de-AT" b="0"/>
            <a:t> Fund</a:t>
          </a:r>
        </a:p>
      </dgm:t>
    </dgm:pt>
    <dgm:pt modelId="{B6ACDA5A-1E94-4A8D-8460-3F1DFFC08727}" type="parTrans" cxnId="{E4B17791-5A08-4844-A803-E345DD09131F}">
      <dgm:prSet/>
      <dgm:spPr/>
      <dgm:t>
        <a:bodyPr/>
        <a:lstStyle/>
        <a:p>
          <a:endParaRPr lang="en-US"/>
        </a:p>
      </dgm:t>
    </dgm:pt>
    <dgm:pt modelId="{EA133073-FC89-4B1A-B2EE-796D1E0D42B2}" type="sibTrans" cxnId="{E4B17791-5A08-4844-A803-E345DD09131F}">
      <dgm:prSet/>
      <dgm:spPr/>
      <dgm:t>
        <a:bodyPr/>
        <a:lstStyle/>
        <a:p>
          <a:endParaRPr lang="en-US"/>
        </a:p>
      </dgm:t>
    </dgm:pt>
    <dgm:pt modelId="{1CC55C7C-ED20-40F5-80C0-699E3859A086}">
      <dgm:prSet/>
      <dgm:spPr>
        <a:solidFill>
          <a:schemeClr val="accent3">
            <a:lumMod val="40000"/>
            <a:lumOff val="60000"/>
          </a:schemeClr>
        </a:solidFill>
      </dgm:spPr>
      <dgm:t>
        <a:bodyPr/>
        <a:lstStyle/>
        <a:p>
          <a:r>
            <a:rPr lang="de-AT" b="0"/>
            <a:t>RE, EE, </a:t>
          </a:r>
          <a:r>
            <a:rPr lang="de-AT" b="0" err="1"/>
            <a:t>energy</a:t>
          </a:r>
          <a:r>
            <a:rPr lang="de-AT" b="0"/>
            <a:t> </a:t>
          </a:r>
          <a:r>
            <a:rPr lang="de-AT" b="0" err="1"/>
            <a:t>storage</a:t>
          </a:r>
          <a:r>
            <a:rPr lang="de-AT" b="0"/>
            <a:t>, </a:t>
          </a:r>
          <a:r>
            <a:rPr lang="de-AT" b="0" err="1"/>
            <a:t>energy</a:t>
          </a:r>
          <a:r>
            <a:rPr lang="de-AT" b="0"/>
            <a:t> </a:t>
          </a:r>
          <a:r>
            <a:rPr lang="de-AT" b="0" err="1"/>
            <a:t>networks</a:t>
          </a:r>
          <a:r>
            <a:rPr lang="de-AT" b="0"/>
            <a:t> </a:t>
          </a:r>
          <a:r>
            <a:rPr lang="de-AT" b="0" err="1"/>
            <a:t>for</a:t>
          </a:r>
          <a:r>
            <a:rPr lang="de-AT" b="0"/>
            <a:t> 10 </a:t>
          </a:r>
          <a:r>
            <a:rPr lang="de-AT" b="0" err="1"/>
            <a:t>lower-income</a:t>
          </a:r>
          <a:r>
            <a:rPr lang="de-AT" b="0"/>
            <a:t> countries</a:t>
          </a:r>
        </a:p>
      </dgm:t>
    </dgm:pt>
    <dgm:pt modelId="{765F3918-849B-41C9-84FB-3E656AAFE8F1}" type="parTrans" cxnId="{EBE7935D-CAE7-4CB2-ADA2-218D97CB6C74}">
      <dgm:prSet/>
      <dgm:spPr/>
      <dgm:t>
        <a:bodyPr/>
        <a:lstStyle/>
        <a:p>
          <a:endParaRPr lang="en-US"/>
        </a:p>
      </dgm:t>
    </dgm:pt>
    <dgm:pt modelId="{DA8B52F2-25FD-471C-8F98-FB73266C5409}" type="sibTrans" cxnId="{EBE7935D-CAE7-4CB2-ADA2-218D97CB6C74}">
      <dgm:prSet/>
      <dgm:spPr/>
      <dgm:t>
        <a:bodyPr/>
        <a:lstStyle/>
        <a:p>
          <a:endParaRPr lang="en-US"/>
        </a:p>
      </dgm:t>
    </dgm:pt>
    <dgm:pt modelId="{A516582E-5075-4595-8491-D80D973DD5B5}" type="pres">
      <dgm:prSet presAssocID="{D7C25517-12CD-4756-95FA-BE468E8B08CB}" presName="CompostProcess" presStyleCnt="0">
        <dgm:presLayoutVars>
          <dgm:dir/>
          <dgm:resizeHandles val="exact"/>
        </dgm:presLayoutVars>
      </dgm:prSet>
      <dgm:spPr/>
    </dgm:pt>
    <dgm:pt modelId="{EE46C66D-4051-4381-8812-3FE4D2856B12}" type="pres">
      <dgm:prSet presAssocID="{D7C25517-12CD-4756-95FA-BE468E8B08CB}" presName="arrow" presStyleLbl="bgShp" presStyleIdx="0" presStyleCnt="1" custScaleX="114728"/>
      <dgm:spPr/>
    </dgm:pt>
    <dgm:pt modelId="{A7C5FF76-6CEF-4E75-8F2C-CE1EB2243BE3}" type="pres">
      <dgm:prSet presAssocID="{D7C25517-12CD-4756-95FA-BE468E8B08CB}" presName="linearProcess" presStyleCnt="0"/>
      <dgm:spPr/>
    </dgm:pt>
    <dgm:pt modelId="{FA71E4A2-29B3-48E3-8177-26AD94432DA3}" type="pres">
      <dgm:prSet presAssocID="{946C3BE4-D788-41DA-BAB4-42F4782AAED6}" presName="textNode" presStyleLbl="node1" presStyleIdx="0" presStyleCnt="7">
        <dgm:presLayoutVars>
          <dgm:bulletEnabled val="1"/>
        </dgm:presLayoutVars>
      </dgm:prSet>
      <dgm:spPr/>
    </dgm:pt>
    <dgm:pt modelId="{E4F5E933-7B50-4554-85E7-FE8EC670EADA}" type="pres">
      <dgm:prSet presAssocID="{6ADA0AFD-78C4-4093-94DC-C0715CE47DD5}" presName="sibTrans" presStyleCnt="0"/>
      <dgm:spPr/>
    </dgm:pt>
    <dgm:pt modelId="{BF2EEF6C-4300-4809-AE85-7A19E77D3A8A}" type="pres">
      <dgm:prSet presAssocID="{989ADE39-0C03-4CE9-8DCB-A969DFA58BD9}" presName="textNode" presStyleLbl="node1" presStyleIdx="1" presStyleCnt="7">
        <dgm:presLayoutVars>
          <dgm:bulletEnabled val="1"/>
        </dgm:presLayoutVars>
      </dgm:prSet>
      <dgm:spPr/>
    </dgm:pt>
    <dgm:pt modelId="{7E521490-FAFC-4E33-8D80-18A901BF54D2}" type="pres">
      <dgm:prSet presAssocID="{01647771-5D99-4E50-8876-18F6A58D500B}" presName="sibTrans" presStyleCnt="0"/>
      <dgm:spPr/>
    </dgm:pt>
    <dgm:pt modelId="{10AFF09B-D505-4C89-9DCF-E0A1F860F704}" type="pres">
      <dgm:prSet presAssocID="{2B740BAF-1D20-41C6-9EE5-23FEF89E7D96}" presName="textNode" presStyleLbl="node1" presStyleIdx="2" presStyleCnt="7">
        <dgm:presLayoutVars>
          <dgm:bulletEnabled val="1"/>
        </dgm:presLayoutVars>
      </dgm:prSet>
      <dgm:spPr/>
    </dgm:pt>
    <dgm:pt modelId="{177C3A3C-1E8F-4DA0-98DE-967450955F68}" type="pres">
      <dgm:prSet presAssocID="{FB668B56-9768-4ACB-A73D-517BF06EABD6}" presName="sibTrans" presStyleCnt="0"/>
      <dgm:spPr/>
    </dgm:pt>
    <dgm:pt modelId="{2DF7CFA0-F558-427B-83D4-07E026CBF03D}" type="pres">
      <dgm:prSet presAssocID="{65718F2D-7FFA-487A-951A-533A56A6D4D1}" presName="textNode" presStyleLbl="node1" presStyleIdx="3" presStyleCnt="7" custScaleY="119895">
        <dgm:presLayoutVars>
          <dgm:bulletEnabled val="1"/>
        </dgm:presLayoutVars>
      </dgm:prSet>
      <dgm:spPr/>
    </dgm:pt>
    <dgm:pt modelId="{5E06CF7E-34FD-4492-A12D-6147F87D54C8}" type="pres">
      <dgm:prSet presAssocID="{4FECF372-45DC-40CF-B8D4-D2CBF5C78F70}" presName="sibTrans" presStyleCnt="0"/>
      <dgm:spPr/>
    </dgm:pt>
    <dgm:pt modelId="{8E4906CF-A77C-4EB9-AB2C-B6F6799B3B9E}" type="pres">
      <dgm:prSet presAssocID="{82E3D9C0-5CA0-42B7-8477-3A5F67BFFCDB}" presName="textNode" presStyleLbl="node1" presStyleIdx="4" presStyleCnt="7" custLinFactX="97614" custLinFactNeighborX="100000" custLinFactNeighborY="2411">
        <dgm:presLayoutVars>
          <dgm:bulletEnabled val="1"/>
        </dgm:presLayoutVars>
      </dgm:prSet>
      <dgm:spPr/>
    </dgm:pt>
    <dgm:pt modelId="{4C3ACBBF-D7E2-4EB6-A8F7-E9B4A8B3F23B}" type="pres">
      <dgm:prSet presAssocID="{B069B59D-0E3C-4B7A-A86B-04FD9DCDBD97}" presName="sibTrans" presStyleCnt="0"/>
      <dgm:spPr/>
    </dgm:pt>
    <dgm:pt modelId="{3BC344B3-7014-406D-8961-97839D8E92F7}" type="pres">
      <dgm:prSet presAssocID="{F660DD55-DC62-4799-9E28-414EC5962894}" presName="textNode" presStyleLbl="node1" presStyleIdx="5" presStyleCnt="7" custLinFactX="97159" custLinFactNeighborX="100000" custLinFactNeighborY="2411">
        <dgm:presLayoutVars>
          <dgm:bulletEnabled val="1"/>
        </dgm:presLayoutVars>
      </dgm:prSet>
      <dgm:spPr/>
    </dgm:pt>
    <dgm:pt modelId="{04B053C1-CF29-4435-AE3B-2904C4A09F21}" type="pres">
      <dgm:prSet presAssocID="{EF6AA962-9B6B-4DA1-8727-D942B23AA719}" presName="sibTrans" presStyleCnt="0"/>
      <dgm:spPr/>
    </dgm:pt>
    <dgm:pt modelId="{14F39E95-6F79-4362-A35A-D6DF37A3AD4D}" type="pres">
      <dgm:prSet presAssocID="{C1159491-64F6-4CCE-B375-9F8B8FA739C8}" presName="textNode" presStyleLbl="node1" presStyleIdx="6" presStyleCnt="7" custLinFactX="-200000" custLinFactNeighborX="-223288" custLinFactNeighborY="2042">
        <dgm:presLayoutVars>
          <dgm:bulletEnabled val="1"/>
        </dgm:presLayoutVars>
      </dgm:prSet>
      <dgm:spPr/>
    </dgm:pt>
  </dgm:ptLst>
  <dgm:cxnLst>
    <dgm:cxn modelId="{2BB8EA01-D55E-4C01-BA57-6E80567E92E6}" srcId="{82E3D9C0-5CA0-42B7-8477-3A5F67BFFCDB}" destId="{9354A0BE-24D2-4DD1-8406-CEE6E28E105C}" srcOrd="0" destOrd="0" parTransId="{6DAF4480-37D0-49BC-9BE8-E325B8B29A4B}" sibTransId="{2A9325F7-72AB-4886-AB55-10A0E02AC9BA}"/>
    <dgm:cxn modelId="{D5BB5C02-FFD8-4B42-9FB2-C1C568317D65}" type="presOf" srcId="{BBD252E9-3206-406B-8865-3FA5AA3DF9B1}" destId="{BF2EEF6C-4300-4809-AE85-7A19E77D3A8A}" srcOrd="0" destOrd="1" presId="urn:microsoft.com/office/officeart/2005/8/layout/hProcess9"/>
    <dgm:cxn modelId="{42127D07-BE85-458C-A307-BF28685FB9BD}" type="presOf" srcId="{9354A0BE-24D2-4DD1-8406-CEE6E28E105C}" destId="{8E4906CF-A77C-4EB9-AB2C-B6F6799B3B9E}" srcOrd="0" destOrd="1" presId="urn:microsoft.com/office/officeart/2005/8/layout/hProcess9"/>
    <dgm:cxn modelId="{33C96A13-0167-4D58-B879-1869EE2020F5}" srcId="{946C3BE4-D788-41DA-BAB4-42F4782AAED6}" destId="{E67DF46A-D14A-4B70-ACE5-39C96ECAB072}" srcOrd="0" destOrd="0" parTransId="{EC84BECB-BA3C-4668-922B-9590FCAD2441}" sibTransId="{5A4447BD-D49C-4E37-934B-5C07C1AF3F7E}"/>
    <dgm:cxn modelId="{2034C418-C1CD-4263-98AE-22241CAF7C09}" srcId="{D7C25517-12CD-4756-95FA-BE468E8B08CB}" destId="{65718F2D-7FFA-487A-951A-533A56A6D4D1}" srcOrd="3" destOrd="0" parTransId="{A35B13C9-5207-42AA-A738-204AC40B76E5}" sibTransId="{4FECF372-45DC-40CF-B8D4-D2CBF5C78F70}"/>
    <dgm:cxn modelId="{771DF320-EA35-4C60-AE34-3689F852E8F4}" srcId="{989ADE39-0C03-4CE9-8DCB-A969DFA58BD9}" destId="{BBD252E9-3206-406B-8865-3FA5AA3DF9B1}" srcOrd="0" destOrd="0" parTransId="{0E33DC0A-DD18-4A2C-8810-98258819F309}" sibTransId="{B2801417-88DD-498B-AB2C-82F09596AC07}"/>
    <dgm:cxn modelId="{AD50E732-29B3-4E96-97A2-514F566717FC}" type="presOf" srcId="{989ADE39-0C03-4CE9-8DCB-A969DFA58BD9}" destId="{BF2EEF6C-4300-4809-AE85-7A19E77D3A8A}" srcOrd="0" destOrd="0" presId="urn:microsoft.com/office/officeart/2005/8/layout/hProcess9"/>
    <dgm:cxn modelId="{BE53B335-5086-48DD-BFD3-D58AC77A8242}" srcId="{F660DD55-DC62-4799-9E28-414EC5962894}" destId="{4C3B4FAC-EC6D-4F2E-8CB5-A91B1673E20C}" srcOrd="0" destOrd="0" parTransId="{BB634CCE-6E9D-4B6A-B327-F5D75DDAC580}" sibTransId="{B0C676B7-B492-45C1-9A83-F2672914C008}"/>
    <dgm:cxn modelId="{E8D9D63B-A703-4B60-A647-DCE027DEBA4C}" type="presOf" srcId="{E67DF46A-D14A-4B70-ACE5-39C96ECAB072}" destId="{FA71E4A2-29B3-48E3-8177-26AD94432DA3}" srcOrd="0" destOrd="1" presId="urn:microsoft.com/office/officeart/2005/8/layout/hProcess9"/>
    <dgm:cxn modelId="{EBE7935D-CAE7-4CB2-ADA2-218D97CB6C74}" srcId="{C1159491-64F6-4CCE-B375-9F8B8FA739C8}" destId="{1CC55C7C-ED20-40F5-80C0-699E3859A086}" srcOrd="0" destOrd="0" parTransId="{765F3918-849B-41C9-84FB-3E656AAFE8F1}" sibTransId="{DA8B52F2-25FD-471C-8F98-FB73266C5409}"/>
    <dgm:cxn modelId="{E4AC9143-7D79-46E6-A721-D7EBD72B2D45}" type="presOf" srcId="{946C3BE4-D788-41DA-BAB4-42F4782AAED6}" destId="{FA71E4A2-29B3-48E3-8177-26AD94432DA3}" srcOrd="0" destOrd="0" presId="urn:microsoft.com/office/officeart/2005/8/layout/hProcess9"/>
    <dgm:cxn modelId="{D40EFD4D-A7C4-47AA-9F0C-589C0AB5E5EF}" type="presOf" srcId="{DFBC98DD-A92E-4797-AC0C-F77ACA6795F2}" destId="{2DF7CFA0-F558-427B-83D4-07E026CBF03D}" srcOrd="0" destOrd="2" presId="urn:microsoft.com/office/officeart/2005/8/layout/hProcess9"/>
    <dgm:cxn modelId="{D37F744F-B06E-41B8-BD98-5F2206841E28}" type="presOf" srcId="{F2332EF1-988F-4EE1-BBA5-A2361FC9360D}" destId="{10AFF09B-D505-4C89-9DCF-E0A1F860F704}" srcOrd="0" destOrd="1" presId="urn:microsoft.com/office/officeart/2005/8/layout/hProcess9"/>
    <dgm:cxn modelId="{E1A91750-738A-4013-8400-79901E4C3072}" srcId="{65718F2D-7FFA-487A-951A-533A56A6D4D1}" destId="{DFBC98DD-A92E-4797-AC0C-F77ACA6795F2}" srcOrd="1" destOrd="0" parTransId="{2F2C183E-173F-4370-A9A0-5A95BA03441C}" sibTransId="{68B48AD4-1C60-4824-AA4F-93708A2466B5}"/>
    <dgm:cxn modelId="{BC568A78-DEDE-4673-A405-C78B35F00EC7}" type="presOf" srcId="{2B740BAF-1D20-41C6-9EE5-23FEF89E7D96}" destId="{10AFF09B-D505-4C89-9DCF-E0A1F860F704}" srcOrd="0" destOrd="0" presId="urn:microsoft.com/office/officeart/2005/8/layout/hProcess9"/>
    <dgm:cxn modelId="{4F272D59-9243-4A48-87B1-E2BFB9389CF1}" type="presOf" srcId="{4C3B4FAC-EC6D-4F2E-8CB5-A91B1673E20C}" destId="{3BC344B3-7014-406D-8961-97839D8E92F7}" srcOrd="0" destOrd="1" presId="urn:microsoft.com/office/officeart/2005/8/layout/hProcess9"/>
    <dgm:cxn modelId="{1104965A-5708-4FC2-9A7E-7728014A8570}" type="presOf" srcId="{1CC55C7C-ED20-40F5-80C0-699E3859A086}" destId="{14F39E95-6F79-4362-A35A-D6DF37A3AD4D}" srcOrd="0" destOrd="1" presId="urn:microsoft.com/office/officeart/2005/8/layout/hProcess9"/>
    <dgm:cxn modelId="{A119A67A-ED3D-48E5-87AC-66545B417B87}" type="presOf" srcId="{D7C25517-12CD-4756-95FA-BE468E8B08CB}" destId="{A516582E-5075-4595-8491-D80D973DD5B5}" srcOrd="0" destOrd="0" presId="urn:microsoft.com/office/officeart/2005/8/layout/hProcess9"/>
    <dgm:cxn modelId="{E3011188-F55A-403A-8EFF-E9F0558002EC}" type="presOf" srcId="{C1159491-64F6-4CCE-B375-9F8B8FA739C8}" destId="{14F39E95-6F79-4362-A35A-D6DF37A3AD4D}" srcOrd="0" destOrd="0" presId="urn:microsoft.com/office/officeart/2005/8/layout/hProcess9"/>
    <dgm:cxn modelId="{DCA51C8B-08B2-4954-81F3-E72B864B509E}" srcId="{F660DD55-DC62-4799-9E28-414EC5962894}" destId="{5D6CCD08-7A02-420D-A233-D3449BE29D90}" srcOrd="1" destOrd="0" parTransId="{4B23C005-0F3B-45CF-8D04-A557888FD834}" sibTransId="{428B9C48-94F8-4638-A108-BB397638B7B7}"/>
    <dgm:cxn modelId="{5A0ED88F-221A-4271-A083-47302CB21BD7}" srcId="{D7C25517-12CD-4756-95FA-BE468E8B08CB}" destId="{82E3D9C0-5CA0-42B7-8477-3A5F67BFFCDB}" srcOrd="4" destOrd="0" parTransId="{140EC949-EB18-48C4-94EB-B029E4A9BB2A}" sibTransId="{B069B59D-0E3C-4B7A-A86B-04FD9DCDBD97}"/>
    <dgm:cxn modelId="{E4B17791-5A08-4844-A803-E345DD09131F}" srcId="{D7C25517-12CD-4756-95FA-BE468E8B08CB}" destId="{C1159491-64F6-4CCE-B375-9F8B8FA739C8}" srcOrd="6" destOrd="0" parTransId="{B6ACDA5A-1E94-4A8D-8460-3F1DFFC08727}" sibTransId="{EA133073-FC89-4B1A-B2EE-796D1E0D42B2}"/>
    <dgm:cxn modelId="{45F58D98-672B-4757-AF0A-195032654AFF}" type="presOf" srcId="{F660DD55-DC62-4799-9E28-414EC5962894}" destId="{3BC344B3-7014-406D-8961-97839D8E92F7}" srcOrd="0" destOrd="0" presId="urn:microsoft.com/office/officeart/2005/8/layout/hProcess9"/>
    <dgm:cxn modelId="{F768D6A1-D48A-4EE2-AE97-346D022BEAE3}" type="presOf" srcId="{68195906-7669-4D96-9A3D-0B9DE369955A}" destId="{2DF7CFA0-F558-427B-83D4-07E026CBF03D}" srcOrd="0" destOrd="1" presId="urn:microsoft.com/office/officeart/2005/8/layout/hProcess9"/>
    <dgm:cxn modelId="{4CD18AB1-8E57-40A8-A55B-B498E36BCBC4}" type="presOf" srcId="{5D6CCD08-7A02-420D-A233-D3449BE29D90}" destId="{3BC344B3-7014-406D-8961-97839D8E92F7}" srcOrd="0" destOrd="2" presId="urn:microsoft.com/office/officeart/2005/8/layout/hProcess9"/>
    <dgm:cxn modelId="{E70A04B9-1868-445C-BA66-44F4A77FBEC2}" srcId="{D7C25517-12CD-4756-95FA-BE468E8B08CB}" destId="{F660DD55-DC62-4799-9E28-414EC5962894}" srcOrd="5" destOrd="0" parTransId="{44F0D208-FB4D-4100-A09E-990E8BFC931E}" sibTransId="{EF6AA962-9B6B-4DA1-8727-D942B23AA719}"/>
    <dgm:cxn modelId="{3828EEB9-FA2C-4A18-88B1-A285BD6DD2B4}" srcId="{D7C25517-12CD-4756-95FA-BE468E8B08CB}" destId="{989ADE39-0C03-4CE9-8DCB-A969DFA58BD9}" srcOrd="1" destOrd="0" parTransId="{9F8837B6-EB96-4F2B-851D-5044EC035E3C}" sibTransId="{01647771-5D99-4E50-8876-18F6A58D500B}"/>
    <dgm:cxn modelId="{E6D59ECC-725D-40CF-BB8F-85C7AF4AED1A}" srcId="{D7C25517-12CD-4756-95FA-BE468E8B08CB}" destId="{946C3BE4-D788-41DA-BAB4-42F4782AAED6}" srcOrd="0" destOrd="0" parTransId="{9ABD958D-1CE6-4D15-8529-10E06C7B779F}" sibTransId="{6ADA0AFD-78C4-4093-94DC-C0715CE47DD5}"/>
    <dgm:cxn modelId="{1BED05D0-39A0-4F1D-AAE0-8684DB4CC372}" type="presOf" srcId="{65718F2D-7FFA-487A-951A-533A56A6D4D1}" destId="{2DF7CFA0-F558-427B-83D4-07E026CBF03D}" srcOrd="0" destOrd="0" presId="urn:microsoft.com/office/officeart/2005/8/layout/hProcess9"/>
    <dgm:cxn modelId="{640B17E6-366C-4A4B-864C-E9767DD529C9}" srcId="{D7C25517-12CD-4756-95FA-BE468E8B08CB}" destId="{2B740BAF-1D20-41C6-9EE5-23FEF89E7D96}" srcOrd="2" destOrd="0" parTransId="{3B740505-D352-4367-A7F0-80A016FE7758}" sibTransId="{FB668B56-9768-4ACB-A73D-517BF06EABD6}"/>
    <dgm:cxn modelId="{13A50DE7-F37B-4DF7-B136-DA035C91C911}" srcId="{2B740BAF-1D20-41C6-9EE5-23FEF89E7D96}" destId="{F2332EF1-988F-4EE1-BBA5-A2361FC9360D}" srcOrd="0" destOrd="0" parTransId="{7EFBFD30-582B-4FC9-9148-777FD362E312}" sibTransId="{3A77A241-C84D-45B9-91C7-82617205565D}"/>
    <dgm:cxn modelId="{627C31E8-209E-4BC8-ACFF-ADA3CF35C750}" srcId="{65718F2D-7FFA-487A-951A-533A56A6D4D1}" destId="{68195906-7669-4D96-9A3D-0B9DE369955A}" srcOrd="0" destOrd="0" parTransId="{744AE9A6-4A1F-4599-849F-B90489BA6FC9}" sibTransId="{5776D1DB-92C7-425A-8479-C1CB379253E1}"/>
    <dgm:cxn modelId="{0C0EACEA-F680-4AF7-9919-5918AC0517CA}" type="presOf" srcId="{82E3D9C0-5CA0-42B7-8477-3A5F67BFFCDB}" destId="{8E4906CF-A77C-4EB9-AB2C-B6F6799B3B9E}" srcOrd="0" destOrd="0" presId="urn:microsoft.com/office/officeart/2005/8/layout/hProcess9"/>
    <dgm:cxn modelId="{2D2EF6E8-F38D-4A11-AE54-B03B7617B8CE}" type="presParOf" srcId="{A516582E-5075-4595-8491-D80D973DD5B5}" destId="{EE46C66D-4051-4381-8812-3FE4D2856B12}" srcOrd="0" destOrd="0" presId="urn:microsoft.com/office/officeart/2005/8/layout/hProcess9"/>
    <dgm:cxn modelId="{AE3D0726-D492-4FCB-99F3-7358F255987E}" type="presParOf" srcId="{A516582E-5075-4595-8491-D80D973DD5B5}" destId="{A7C5FF76-6CEF-4E75-8F2C-CE1EB2243BE3}" srcOrd="1" destOrd="0" presId="urn:microsoft.com/office/officeart/2005/8/layout/hProcess9"/>
    <dgm:cxn modelId="{2C48AEC2-00C6-4F84-AA48-F131AF46B38B}" type="presParOf" srcId="{A7C5FF76-6CEF-4E75-8F2C-CE1EB2243BE3}" destId="{FA71E4A2-29B3-48E3-8177-26AD94432DA3}" srcOrd="0" destOrd="0" presId="urn:microsoft.com/office/officeart/2005/8/layout/hProcess9"/>
    <dgm:cxn modelId="{531EBDF0-EA17-4D3B-A2FB-C9871E61CD42}" type="presParOf" srcId="{A7C5FF76-6CEF-4E75-8F2C-CE1EB2243BE3}" destId="{E4F5E933-7B50-4554-85E7-FE8EC670EADA}" srcOrd="1" destOrd="0" presId="urn:microsoft.com/office/officeart/2005/8/layout/hProcess9"/>
    <dgm:cxn modelId="{DBB1CFB8-72B7-4893-BC90-C4ABBA1A3E70}" type="presParOf" srcId="{A7C5FF76-6CEF-4E75-8F2C-CE1EB2243BE3}" destId="{BF2EEF6C-4300-4809-AE85-7A19E77D3A8A}" srcOrd="2" destOrd="0" presId="urn:microsoft.com/office/officeart/2005/8/layout/hProcess9"/>
    <dgm:cxn modelId="{1BE0AFBA-18FB-4CF9-9509-E194BDE4082B}" type="presParOf" srcId="{A7C5FF76-6CEF-4E75-8F2C-CE1EB2243BE3}" destId="{7E521490-FAFC-4E33-8D80-18A901BF54D2}" srcOrd="3" destOrd="0" presId="urn:microsoft.com/office/officeart/2005/8/layout/hProcess9"/>
    <dgm:cxn modelId="{0FCB21F0-1F12-4196-8390-2874C13D126E}" type="presParOf" srcId="{A7C5FF76-6CEF-4E75-8F2C-CE1EB2243BE3}" destId="{10AFF09B-D505-4C89-9DCF-E0A1F860F704}" srcOrd="4" destOrd="0" presId="urn:microsoft.com/office/officeart/2005/8/layout/hProcess9"/>
    <dgm:cxn modelId="{95ED7D02-9167-4696-8F8F-328CAC8A0547}" type="presParOf" srcId="{A7C5FF76-6CEF-4E75-8F2C-CE1EB2243BE3}" destId="{177C3A3C-1E8F-4DA0-98DE-967450955F68}" srcOrd="5" destOrd="0" presId="urn:microsoft.com/office/officeart/2005/8/layout/hProcess9"/>
    <dgm:cxn modelId="{0F6285C4-984B-4B1A-8654-8F0B25A4C617}" type="presParOf" srcId="{A7C5FF76-6CEF-4E75-8F2C-CE1EB2243BE3}" destId="{2DF7CFA0-F558-427B-83D4-07E026CBF03D}" srcOrd="6" destOrd="0" presId="urn:microsoft.com/office/officeart/2005/8/layout/hProcess9"/>
    <dgm:cxn modelId="{DF54A91B-7710-4356-A8E6-67F4279B487E}" type="presParOf" srcId="{A7C5FF76-6CEF-4E75-8F2C-CE1EB2243BE3}" destId="{5E06CF7E-34FD-4492-A12D-6147F87D54C8}" srcOrd="7" destOrd="0" presId="urn:microsoft.com/office/officeart/2005/8/layout/hProcess9"/>
    <dgm:cxn modelId="{E2CC95A5-D54B-4B1F-A159-1FDFDEF0DBD4}" type="presParOf" srcId="{A7C5FF76-6CEF-4E75-8F2C-CE1EB2243BE3}" destId="{8E4906CF-A77C-4EB9-AB2C-B6F6799B3B9E}" srcOrd="8" destOrd="0" presId="urn:microsoft.com/office/officeart/2005/8/layout/hProcess9"/>
    <dgm:cxn modelId="{0DD9CDCD-4305-42B3-9A63-6DB2C6C8A54B}" type="presParOf" srcId="{A7C5FF76-6CEF-4E75-8F2C-CE1EB2243BE3}" destId="{4C3ACBBF-D7E2-4EB6-A8F7-E9B4A8B3F23B}" srcOrd="9" destOrd="0" presId="urn:microsoft.com/office/officeart/2005/8/layout/hProcess9"/>
    <dgm:cxn modelId="{BB4839AD-087A-47CD-BFA4-B70706BC5E0C}" type="presParOf" srcId="{A7C5FF76-6CEF-4E75-8F2C-CE1EB2243BE3}" destId="{3BC344B3-7014-406D-8961-97839D8E92F7}" srcOrd="10" destOrd="0" presId="urn:microsoft.com/office/officeart/2005/8/layout/hProcess9"/>
    <dgm:cxn modelId="{B9E9603D-16EC-47DF-904D-6C9852B07E03}" type="presParOf" srcId="{A7C5FF76-6CEF-4E75-8F2C-CE1EB2243BE3}" destId="{04B053C1-CF29-4435-AE3B-2904C4A09F21}" srcOrd="11" destOrd="0" presId="urn:microsoft.com/office/officeart/2005/8/layout/hProcess9"/>
    <dgm:cxn modelId="{B8828E72-4980-4DA1-BDCD-1AB4FDE502FF}" type="presParOf" srcId="{A7C5FF76-6CEF-4E75-8F2C-CE1EB2243BE3}" destId="{14F39E95-6F79-4362-A35A-D6DF37A3AD4D}" srcOrd="1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7C25517-12CD-4756-95FA-BE468E8B08CB}" type="doc">
      <dgm:prSet loTypeId="urn:microsoft.com/office/officeart/2005/8/layout/arrow4" loCatId="process" qsTypeId="urn:microsoft.com/office/officeart/2005/8/quickstyle/simple3" qsCatId="simple" csTypeId="urn:microsoft.com/office/officeart/2005/8/colors/colorful2" csCatId="colorful" phldr="1"/>
      <dgm:spPr/>
      <dgm:t>
        <a:bodyPr/>
        <a:lstStyle/>
        <a:p>
          <a:endParaRPr lang="en-GB"/>
        </a:p>
      </dgm:t>
    </dgm:pt>
    <dgm:pt modelId="{946C3BE4-D788-41DA-BAB4-42F4782AAED6}">
      <dgm:prSet custT="1"/>
      <dgm:spPr/>
      <dgm:t>
        <a:bodyPr/>
        <a:lstStyle/>
        <a:p>
          <a:r>
            <a:rPr lang="de-AT" sz="3600"/>
            <a:t>National </a:t>
          </a:r>
          <a:r>
            <a:rPr lang="de-AT" sz="3600" err="1"/>
            <a:t>funding</a:t>
          </a:r>
          <a:r>
            <a:rPr lang="de-AT" sz="3600"/>
            <a:t> </a:t>
          </a:r>
          <a:r>
            <a:rPr lang="de-AT" sz="2400"/>
            <a:t>(</a:t>
          </a:r>
          <a:r>
            <a:rPr lang="de-AT" sz="2400" err="1"/>
            <a:t>including</a:t>
          </a:r>
          <a:r>
            <a:rPr lang="de-AT" sz="2400"/>
            <a:t> RRPs)</a:t>
          </a:r>
        </a:p>
      </dgm:t>
    </dgm:pt>
    <dgm:pt modelId="{9ABD958D-1CE6-4D15-8529-10E06C7B779F}" type="parTrans" cxnId="{E6D59ECC-725D-40CF-BB8F-85C7AF4AED1A}">
      <dgm:prSet/>
      <dgm:spPr/>
      <dgm:t>
        <a:bodyPr/>
        <a:lstStyle/>
        <a:p>
          <a:endParaRPr lang="en-US" sz="1100"/>
        </a:p>
      </dgm:t>
    </dgm:pt>
    <dgm:pt modelId="{6ADA0AFD-78C4-4093-94DC-C0715CE47DD5}" type="sibTrans" cxnId="{E6D59ECC-725D-40CF-BB8F-85C7AF4AED1A}">
      <dgm:prSet/>
      <dgm:spPr/>
      <dgm:t>
        <a:bodyPr/>
        <a:lstStyle/>
        <a:p>
          <a:endParaRPr lang="en-US" sz="1100"/>
        </a:p>
      </dgm:t>
    </dgm:pt>
    <dgm:pt modelId="{A2D4D83B-837B-4546-AFD6-34E9E31663E4}" type="pres">
      <dgm:prSet presAssocID="{D7C25517-12CD-4756-95FA-BE468E8B08CB}" presName="compositeShape" presStyleCnt="0">
        <dgm:presLayoutVars>
          <dgm:chMax val="2"/>
          <dgm:dir/>
          <dgm:resizeHandles val="exact"/>
        </dgm:presLayoutVars>
      </dgm:prSet>
      <dgm:spPr/>
    </dgm:pt>
    <dgm:pt modelId="{10F3A49E-5D1B-4385-918E-CCE8BC34A1D6}" type="pres">
      <dgm:prSet presAssocID="{946C3BE4-D788-41DA-BAB4-42F4782AAED6}" presName="upArrow" presStyleLbl="node1" presStyleIdx="0" presStyleCnt="1" custLinFactNeighborY="-1143"/>
      <dgm:spPr/>
    </dgm:pt>
    <dgm:pt modelId="{4501BF0F-F77E-4066-BB27-3E64B3F8F684}" type="pres">
      <dgm:prSet presAssocID="{946C3BE4-D788-41DA-BAB4-42F4782AAED6}" presName="upArrowText" presStyleLbl="revTx" presStyleIdx="0" presStyleCnt="1">
        <dgm:presLayoutVars>
          <dgm:chMax val="0"/>
          <dgm:bulletEnabled val="1"/>
        </dgm:presLayoutVars>
      </dgm:prSet>
      <dgm:spPr/>
    </dgm:pt>
  </dgm:ptLst>
  <dgm:cxnLst>
    <dgm:cxn modelId="{93EB4A67-4C15-43A2-9844-B178CE26F524}" type="presOf" srcId="{D7C25517-12CD-4756-95FA-BE468E8B08CB}" destId="{A2D4D83B-837B-4546-AFD6-34E9E31663E4}" srcOrd="0" destOrd="0" presId="urn:microsoft.com/office/officeart/2005/8/layout/arrow4"/>
    <dgm:cxn modelId="{C359A649-DDAD-486D-A9F0-B893949454CB}" type="presOf" srcId="{946C3BE4-D788-41DA-BAB4-42F4782AAED6}" destId="{4501BF0F-F77E-4066-BB27-3E64B3F8F684}" srcOrd="0" destOrd="0" presId="urn:microsoft.com/office/officeart/2005/8/layout/arrow4"/>
    <dgm:cxn modelId="{E6D59ECC-725D-40CF-BB8F-85C7AF4AED1A}" srcId="{D7C25517-12CD-4756-95FA-BE468E8B08CB}" destId="{946C3BE4-D788-41DA-BAB4-42F4782AAED6}" srcOrd="0" destOrd="0" parTransId="{9ABD958D-1CE6-4D15-8529-10E06C7B779F}" sibTransId="{6ADA0AFD-78C4-4093-94DC-C0715CE47DD5}"/>
    <dgm:cxn modelId="{09385099-2F10-45B1-B1FF-75B912480896}" type="presParOf" srcId="{A2D4D83B-837B-4546-AFD6-34E9E31663E4}" destId="{10F3A49E-5D1B-4385-918E-CCE8BC34A1D6}" srcOrd="0" destOrd="0" presId="urn:microsoft.com/office/officeart/2005/8/layout/arrow4"/>
    <dgm:cxn modelId="{30DE3D2D-3078-40C5-905C-662447974A5C}" type="presParOf" srcId="{A2D4D83B-837B-4546-AFD6-34E9E31663E4}" destId="{4501BF0F-F77E-4066-BB27-3E64B3F8F684}" srcOrd="1" destOrd="0" presId="urn:microsoft.com/office/officeart/2005/8/layout/arrow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6C66D-4051-4381-8812-3FE4D2856B12}">
      <dsp:nvSpPr>
        <dsp:cNvPr id="0" name=""/>
        <dsp:cNvSpPr/>
      </dsp:nvSpPr>
      <dsp:spPr>
        <a:xfrm>
          <a:off x="131174" y="0"/>
          <a:ext cx="10311145" cy="4611328"/>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FA71E4A2-29B3-48E3-8177-26AD94432DA3}">
      <dsp:nvSpPr>
        <dsp:cNvPr id="0" name=""/>
        <dsp:cNvSpPr/>
      </dsp:nvSpPr>
      <dsp:spPr>
        <a:xfrm>
          <a:off x="3876" y="1383398"/>
          <a:ext cx="1439582" cy="1844531"/>
        </a:xfrm>
        <a:prstGeom prst="round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de-AT" sz="1400" kern="1200"/>
            <a:t>Horizon Europe</a:t>
          </a:r>
        </a:p>
        <a:p>
          <a:pPr marL="57150" lvl="1" indent="-57150" algn="l" defTabSz="488950">
            <a:lnSpc>
              <a:spcPct val="90000"/>
            </a:lnSpc>
            <a:spcBef>
              <a:spcPct val="0"/>
            </a:spcBef>
            <a:spcAft>
              <a:spcPct val="15000"/>
            </a:spcAft>
            <a:buChar char="•"/>
          </a:pPr>
          <a:r>
            <a:rPr lang="de-AT" sz="1100" kern="1200"/>
            <a:t>Research and Innovation</a:t>
          </a:r>
        </a:p>
      </dsp:txBody>
      <dsp:txXfrm>
        <a:off x="74151" y="1453673"/>
        <a:ext cx="1299032" cy="1703981"/>
      </dsp:txXfrm>
    </dsp:sp>
    <dsp:sp modelId="{BF2EEF6C-4300-4809-AE85-7A19E77D3A8A}">
      <dsp:nvSpPr>
        <dsp:cNvPr id="0" name=""/>
        <dsp:cNvSpPr/>
      </dsp:nvSpPr>
      <dsp:spPr>
        <a:xfrm>
          <a:off x="1524903" y="1383398"/>
          <a:ext cx="1439582" cy="1844531"/>
        </a:xfrm>
        <a:prstGeom prst="roundRect">
          <a:avLst/>
        </a:prstGeom>
        <a:gradFill rotWithShape="0">
          <a:gsLst>
            <a:gs pos="0">
              <a:schemeClr val="accent2">
                <a:hueOff val="-302039"/>
                <a:satOff val="660"/>
                <a:lumOff val="-2451"/>
                <a:alphaOff val="0"/>
                <a:lumMod val="110000"/>
                <a:satMod val="105000"/>
                <a:tint val="67000"/>
              </a:schemeClr>
            </a:gs>
            <a:gs pos="50000">
              <a:schemeClr val="accent2">
                <a:hueOff val="-302039"/>
                <a:satOff val="660"/>
                <a:lumOff val="-2451"/>
                <a:alphaOff val="0"/>
                <a:lumMod val="105000"/>
                <a:satMod val="103000"/>
                <a:tint val="73000"/>
              </a:schemeClr>
            </a:gs>
            <a:gs pos="100000">
              <a:schemeClr val="accent2">
                <a:hueOff val="-302039"/>
                <a:satOff val="660"/>
                <a:lumOff val="-245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European Innovation Council</a:t>
          </a:r>
          <a:endParaRPr lang="de-AT" sz="1400" kern="1200"/>
        </a:p>
        <a:p>
          <a:pPr marL="57150" lvl="1" indent="-57150" algn="l" defTabSz="488950">
            <a:lnSpc>
              <a:spcPct val="90000"/>
            </a:lnSpc>
            <a:spcBef>
              <a:spcPct val="0"/>
            </a:spcBef>
            <a:spcAft>
              <a:spcPct val="15000"/>
            </a:spcAft>
            <a:buChar char="•"/>
          </a:pPr>
          <a:r>
            <a:rPr lang="de-AT" sz="1100" kern="1200"/>
            <a:t>Early </a:t>
          </a:r>
          <a:r>
            <a:rPr lang="de-AT" sz="1100" kern="1200" err="1"/>
            <a:t>adoption</a:t>
          </a:r>
          <a:r>
            <a:rPr lang="de-AT" sz="1100" kern="1200"/>
            <a:t>, </a:t>
          </a:r>
          <a:r>
            <a:rPr lang="de-AT" sz="1100" kern="1200" err="1"/>
            <a:t>start-ups</a:t>
          </a:r>
          <a:endParaRPr lang="de-AT" sz="1100" kern="1200"/>
        </a:p>
      </dsp:txBody>
      <dsp:txXfrm>
        <a:off x="1595178" y="1453673"/>
        <a:ext cx="1299032" cy="1703981"/>
      </dsp:txXfrm>
    </dsp:sp>
    <dsp:sp modelId="{10AFF09B-D505-4C89-9DCF-E0A1F860F704}">
      <dsp:nvSpPr>
        <dsp:cNvPr id="0" name=""/>
        <dsp:cNvSpPr/>
      </dsp:nvSpPr>
      <dsp:spPr>
        <a:xfrm>
          <a:off x="3045929" y="1383398"/>
          <a:ext cx="1439582" cy="1844531"/>
        </a:xfrm>
        <a:prstGeom prst="roundRect">
          <a:avLst/>
        </a:prstGeom>
        <a:gradFill rotWithShape="0">
          <a:gsLst>
            <a:gs pos="0">
              <a:schemeClr val="accent2">
                <a:hueOff val="-604079"/>
                <a:satOff val="1321"/>
                <a:lumOff val="-4902"/>
                <a:alphaOff val="0"/>
                <a:lumMod val="110000"/>
                <a:satMod val="105000"/>
                <a:tint val="67000"/>
              </a:schemeClr>
            </a:gs>
            <a:gs pos="50000">
              <a:schemeClr val="accent2">
                <a:hueOff val="-604079"/>
                <a:satOff val="1321"/>
                <a:lumOff val="-4902"/>
                <a:alphaOff val="0"/>
                <a:lumMod val="105000"/>
                <a:satMod val="103000"/>
                <a:tint val="73000"/>
              </a:schemeClr>
            </a:gs>
            <a:gs pos="100000">
              <a:schemeClr val="accent2">
                <a:hueOff val="-604079"/>
                <a:satOff val="1321"/>
                <a:lumOff val="-490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de-AT" sz="1400" kern="1200"/>
            <a:t>LIFE </a:t>
          </a:r>
          <a:r>
            <a:rPr lang="de-AT" sz="1400" kern="1200" err="1"/>
            <a:t>programme</a:t>
          </a:r>
          <a:endParaRPr lang="de-AT" sz="1400" kern="1200"/>
        </a:p>
        <a:p>
          <a:pPr marL="57150" lvl="1" indent="-57150" algn="l" defTabSz="488950">
            <a:lnSpc>
              <a:spcPct val="90000"/>
            </a:lnSpc>
            <a:spcBef>
              <a:spcPct val="0"/>
            </a:spcBef>
            <a:spcAft>
              <a:spcPct val="15000"/>
            </a:spcAft>
            <a:buChar char="•"/>
          </a:pPr>
          <a:r>
            <a:rPr lang="de-AT" sz="1100" kern="1200"/>
            <a:t>Pilot </a:t>
          </a:r>
          <a:r>
            <a:rPr lang="de-AT" sz="1100" kern="1200" err="1"/>
            <a:t>projects</a:t>
          </a:r>
          <a:r>
            <a:rPr lang="de-AT" sz="1100" kern="1200"/>
            <a:t> </a:t>
          </a:r>
          <a:r>
            <a:rPr lang="de-AT" sz="1100" kern="1200" err="1"/>
            <a:t>for</a:t>
          </a:r>
          <a:r>
            <a:rPr lang="de-AT" sz="1100" kern="1200"/>
            <a:t> </a:t>
          </a:r>
          <a:r>
            <a:rPr lang="de-AT" sz="1100" kern="1200" err="1"/>
            <a:t>mitigation</a:t>
          </a:r>
          <a:r>
            <a:rPr lang="de-AT" sz="1100" kern="1200"/>
            <a:t> and </a:t>
          </a:r>
          <a:r>
            <a:rPr lang="de-AT" sz="1100" kern="1200" err="1"/>
            <a:t>adaptation</a:t>
          </a:r>
          <a:endParaRPr lang="de-AT" sz="1100" kern="1200"/>
        </a:p>
      </dsp:txBody>
      <dsp:txXfrm>
        <a:off x="3116204" y="1453673"/>
        <a:ext cx="1299032" cy="1703981"/>
      </dsp:txXfrm>
    </dsp:sp>
    <dsp:sp modelId="{2DF7CFA0-F558-427B-83D4-07E026CBF03D}">
      <dsp:nvSpPr>
        <dsp:cNvPr id="0" name=""/>
        <dsp:cNvSpPr/>
      </dsp:nvSpPr>
      <dsp:spPr>
        <a:xfrm>
          <a:off x="4566956" y="1199913"/>
          <a:ext cx="1439582" cy="2211500"/>
        </a:xfrm>
        <a:prstGeom prst="roundRect">
          <a:avLst/>
        </a:prstGeom>
        <a:gradFill rotWithShape="0">
          <a:gsLst>
            <a:gs pos="0">
              <a:schemeClr val="accent2">
                <a:hueOff val="-906118"/>
                <a:satOff val="1981"/>
                <a:lumOff val="-7353"/>
                <a:alphaOff val="0"/>
                <a:lumMod val="110000"/>
                <a:satMod val="105000"/>
                <a:tint val="67000"/>
              </a:schemeClr>
            </a:gs>
            <a:gs pos="50000">
              <a:schemeClr val="accent2">
                <a:hueOff val="-906118"/>
                <a:satOff val="1981"/>
                <a:lumOff val="-7353"/>
                <a:alphaOff val="0"/>
                <a:lumMod val="105000"/>
                <a:satMod val="103000"/>
                <a:tint val="73000"/>
              </a:schemeClr>
            </a:gs>
            <a:gs pos="100000">
              <a:schemeClr val="accent2">
                <a:hueOff val="-906118"/>
                <a:satOff val="1981"/>
                <a:lumOff val="-735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de-AT" sz="1400" kern="1200"/>
            <a:t>Innovation Fund</a:t>
          </a:r>
        </a:p>
        <a:p>
          <a:pPr marL="57150" lvl="1" indent="-57150" algn="l" defTabSz="488950" rtl="0">
            <a:lnSpc>
              <a:spcPct val="90000"/>
            </a:lnSpc>
            <a:spcBef>
              <a:spcPct val="0"/>
            </a:spcBef>
            <a:spcAft>
              <a:spcPct val="15000"/>
            </a:spcAft>
            <a:buChar char="•"/>
          </a:pPr>
          <a:r>
            <a:rPr lang="de-AT" sz="1100" b="1" kern="1200">
              <a:latin typeface="Arial"/>
            </a:rPr>
            <a:t>GRANTS</a:t>
          </a:r>
          <a:r>
            <a:rPr lang="de-AT" sz="1100" kern="1200">
              <a:latin typeface="Arial"/>
            </a:rPr>
            <a:t>: </a:t>
          </a:r>
          <a:r>
            <a:rPr lang="de-AT" sz="1100" kern="1200" err="1">
              <a:latin typeface="Arial"/>
            </a:rPr>
            <a:t>upscaling</a:t>
          </a:r>
          <a:r>
            <a:rPr lang="de-AT" sz="1100" kern="1200"/>
            <a:t> </a:t>
          </a:r>
          <a:r>
            <a:rPr lang="de-AT" sz="1100" kern="1200" err="1"/>
            <a:t>to</a:t>
          </a:r>
          <a:r>
            <a:rPr lang="de-AT" sz="1100" kern="1200"/>
            <a:t> </a:t>
          </a:r>
          <a:r>
            <a:rPr lang="de-AT" sz="1100" kern="1200" err="1"/>
            <a:t>commercial</a:t>
          </a:r>
          <a:r>
            <a:rPr lang="de-AT" sz="1100" kern="1200"/>
            <a:t> </a:t>
          </a:r>
          <a:r>
            <a:rPr lang="de-AT" sz="1100" kern="1200" err="1"/>
            <a:t>level</a:t>
          </a:r>
          <a:endParaRPr lang="de-AT" sz="1100" kern="1200"/>
        </a:p>
        <a:p>
          <a:pPr marL="57150" lvl="1" indent="-57150" algn="l" defTabSz="488950" rtl="0">
            <a:lnSpc>
              <a:spcPct val="90000"/>
            </a:lnSpc>
            <a:spcBef>
              <a:spcPct val="0"/>
            </a:spcBef>
            <a:spcAft>
              <a:spcPct val="15000"/>
            </a:spcAft>
            <a:buChar char="•"/>
          </a:pPr>
          <a:r>
            <a:rPr lang="de-AT" sz="1100" b="1" kern="1200" err="1">
              <a:latin typeface="Arial"/>
            </a:rPr>
            <a:t>Auctions</a:t>
          </a:r>
          <a:r>
            <a:rPr lang="de-AT" sz="1100" b="1" kern="1200">
              <a:latin typeface="Arial"/>
            </a:rPr>
            <a:t>: </a:t>
          </a:r>
          <a:r>
            <a:rPr lang="de-AT" sz="1100" kern="1200">
              <a:latin typeface="Arial"/>
            </a:rPr>
            <a:t>roll-out </a:t>
          </a:r>
          <a:r>
            <a:rPr lang="de-AT" sz="1100" kern="1200" err="1">
              <a:latin typeface="Arial"/>
            </a:rPr>
            <a:t>of</a:t>
          </a:r>
          <a:r>
            <a:rPr lang="de-AT" sz="1100" kern="1200">
              <a:latin typeface="Arial"/>
            </a:rPr>
            <a:t> </a:t>
          </a:r>
          <a:r>
            <a:rPr lang="de-AT" sz="1100" kern="1200" err="1">
              <a:latin typeface="Arial"/>
            </a:rPr>
            <a:t>mature</a:t>
          </a:r>
          <a:r>
            <a:rPr lang="de-AT" sz="1100" kern="1200">
              <a:latin typeface="Arial"/>
            </a:rPr>
            <a:t> </a:t>
          </a:r>
          <a:r>
            <a:rPr lang="de-AT" sz="1100" kern="1200" err="1">
              <a:latin typeface="Arial"/>
            </a:rPr>
            <a:t>technologies</a:t>
          </a:r>
          <a:endParaRPr lang="de-AT" sz="1100" kern="1200">
            <a:latin typeface="Arial"/>
          </a:endParaRPr>
        </a:p>
      </dsp:txBody>
      <dsp:txXfrm>
        <a:off x="4637231" y="1270188"/>
        <a:ext cx="1299032" cy="2070950"/>
      </dsp:txXfrm>
    </dsp:sp>
    <dsp:sp modelId="{8E4906CF-A77C-4EB9-AB2C-B6F6799B3B9E}">
      <dsp:nvSpPr>
        <dsp:cNvPr id="0" name=""/>
        <dsp:cNvSpPr/>
      </dsp:nvSpPr>
      <dsp:spPr>
        <a:xfrm>
          <a:off x="7574660" y="1427870"/>
          <a:ext cx="1439582" cy="1844531"/>
        </a:xfrm>
        <a:prstGeom prst="roundRect">
          <a:avLst/>
        </a:prstGeom>
        <a:gradFill rotWithShape="0">
          <a:gsLst>
            <a:gs pos="0">
              <a:schemeClr val="accent2">
                <a:hueOff val="-1208157"/>
                <a:satOff val="2641"/>
                <a:lumOff val="-9804"/>
                <a:alphaOff val="0"/>
                <a:lumMod val="110000"/>
                <a:satMod val="105000"/>
                <a:tint val="67000"/>
              </a:schemeClr>
            </a:gs>
            <a:gs pos="50000">
              <a:schemeClr val="accent2">
                <a:hueOff val="-1208157"/>
                <a:satOff val="2641"/>
                <a:lumOff val="-9804"/>
                <a:alphaOff val="0"/>
                <a:lumMod val="105000"/>
                <a:satMod val="103000"/>
                <a:tint val="73000"/>
              </a:schemeClr>
            </a:gs>
            <a:gs pos="100000">
              <a:schemeClr val="accent2">
                <a:hueOff val="-1208157"/>
                <a:satOff val="2641"/>
                <a:lumOff val="-980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de-AT" sz="1400" kern="1200" err="1"/>
            <a:t>Connecting</a:t>
          </a:r>
          <a:r>
            <a:rPr lang="de-AT" sz="1400" kern="1200"/>
            <a:t> Europe Facility</a:t>
          </a:r>
        </a:p>
        <a:p>
          <a:pPr marL="57150" lvl="1" indent="-57150" algn="l" defTabSz="488950">
            <a:lnSpc>
              <a:spcPct val="90000"/>
            </a:lnSpc>
            <a:spcBef>
              <a:spcPct val="0"/>
            </a:spcBef>
            <a:spcAft>
              <a:spcPct val="15000"/>
            </a:spcAft>
            <a:buChar char="•"/>
          </a:pPr>
          <a:r>
            <a:rPr lang="de-AT" sz="1100" kern="1200"/>
            <a:t>Transport </a:t>
          </a:r>
          <a:r>
            <a:rPr lang="de-AT" sz="1100" kern="1200" err="1"/>
            <a:t>facilities</a:t>
          </a:r>
          <a:r>
            <a:rPr lang="de-AT" sz="1100" kern="1200"/>
            <a:t> </a:t>
          </a:r>
          <a:r>
            <a:rPr lang="de-AT" sz="1100" kern="1200" err="1"/>
            <a:t>for</a:t>
          </a:r>
          <a:r>
            <a:rPr lang="de-AT" sz="1100" kern="1200"/>
            <a:t> </a:t>
          </a:r>
          <a:r>
            <a:rPr lang="de-AT" sz="1100" kern="1200" err="1"/>
            <a:t>energy</a:t>
          </a:r>
          <a:r>
            <a:rPr lang="de-AT" sz="1100" kern="1200"/>
            <a:t> and </a:t>
          </a:r>
          <a:r>
            <a:rPr lang="de-AT" sz="1100" kern="1200" err="1"/>
            <a:t>mobility</a:t>
          </a:r>
          <a:endParaRPr lang="de-AT" sz="1100" kern="1200"/>
        </a:p>
      </dsp:txBody>
      <dsp:txXfrm>
        <a:off x="7644935" y="1498145"/>
        <a:ext cx="1299032" cy="1703981"/>
      </dsp:txXfrm>
    </dsp:sp>
    <dsp:sp modelId="{3BC344B3-7014-406D-8961-97839D8E92F7}">
      <dsp:nvSpPr>
        <dsp:cNvPr id="0" name=""/>
        <dsp:cNvSpPr/>
      </dsp:nvSpPr>
      <dsp:spPr>
        <a:xfrm>
          <a:off x="9089136" y="1427870"/>
          <a:ext cx="1439582" cy="1844531"/>
        </a:xfrm>
        <a:prstGeom prst="roundRect">
          <a:avLst/>
        </a:prstGeom>
        <a:gradFill rotWithShape="0">
          <a:gsLst>
            <a:gs pos="0">
              <a:schemeClr val="accent2">
                <a:hueOff val="-1510197"/>
                <a:satOff val="3302"/>
                <a:lumOff val="-12255"/>
                <a:alphaOff val="0"/>
                <a:lumMod val="110000"/>
                <a:satMod val="105000"/>
                <a:tint val="67000"/>
              </a:schemeClr>
            </a:gs>
            <a:gs pos="50000">
              <a:schemeClr val="accent2">
                <a:hueOff val="-1510197"/>
                <a:satOff val="3302"/>
                <a:lumOff val="-12255"/>
                <a:alphaOff val="0"/>
                <a:lumMod val="105000"/>
                <a:satMod val="103000"/>
                <a:tint val="73000"/>
              </a:schemeClr>
            </a:gs>
            <a:gs pos="100000">
              <a:schemeClr val="accent2">
                <a:hueOff val="-1510197"/>
                <a:satOff val="3302"/>
                <a:lumOff val="-1225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de-AT" sz="1400" kern="1200" err="1"/>
            <a:t>InvestEU</a:t>
          </a:r>
          <a:r>
            <a:rPr lang="de-AT" sz="1400" kern="1200"/>
            <a:t> – EIB</a:t>
          </a:r>
        </a:p>
        <a:p>
          <a:pPr marL="57150" lvl="1" indent="-57150" algn="l" defTabSz="488950">
            <a:lnSpc>
              <a:spcPct val="90000"/>
            </a:lnSpc>
            <a:spcBef>
              <a:spcPct val="0"/>
            </a:spcBef>
            <a:spcAft>
              <a:spcPct val="15000"/>
            </a:spcAft>
            <a:buChar char="•"/>
          </a:pPr>
          <a:r>
            <a:rPr lang="de-AT" sz="1100" kern="1200" err="1"/>
            <a:t>Debt</a:t>
          </a:r>
          <a:r>
            <a:rPr lang="de-AT" sz="1100" kern="1200"/>
            <a:t> </a:t>
          </a:r>
          <a:r>
            <a:rPr lang="de-AT" sz="1100" kern="1200" err="1"/>
            <a:t>financing</a:t>
          </a:r>
          <a:endParaRPr lang="de-AT" sz="1100" kern="1200"/>
        </a:p>
        <a:p>
          <a:pPr marL="57150" lvl="1" indent="-57150" algn="l" defTabSz="488950">
            <a:lnSpc>
              <a:spcPct val="90000"/>
            </a:lnSpc>
            <a:spcBef>
              <a:spcPct val="0"/>
            </a:spcBef>
            <a:spcAft>
              <a:spcPct val="15000"/>
            </a:spcAft>
            <a:buChar char="•"/>
          </a:pPr>
          <a:endParaRPr lang="de-AT" sz="1100" kern="1200"/>
        </a:p>
      </dsp:txBody>
      <dsp:txXfrm>
        <a:off x="9159411" y="1498145"/>
        <a:ext cx="1299032" cy="1703981"/>
      </dsp:txXfrm>
    </dsp:sp>
    <dsp:sp modelId="{14F39E95-6F79-4362-A35A-D6DF37A3AD4D}">
      <dsp:nvSpPr>
        <dsp:cNvPr id="0" name=""/>
        <dsp:cNvSpPr/>
      </dsp:nvSpPr>
      <dsp:spPr>
        <a:xfrm>
          <a:off x="6069015" y="1421063"/>
          <a:ext cx="1439582" cy="1844531"/>
        </a:xfrm>
        <a:prstGeom prst="roundRect">
          <a:avLst/>
        </a:prstGeom>
        <a:solidFill>
          <a:schemeClr val="accent3">
            <a:lumMod val="40000"/>
            <a:lumOff val="6000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de-AT" sz="1400" b="0" kern="1200" err="1"/>
            <a:t>Modernisation</a:t>
          </a:r>
          <a:r>
            <a:rPr lang="de-AT" sz="1400" b="0" kern="1200"/>
            <a:t> Fund</a:t>
          </a:r>
        </a:p>
        <a:p>
          <a:pPr marL="57150" lvl="1" indent="-57150" algn="l" defTabSz="488950">
            <a:lnSpc>
              <a:spcPct val="90000"/>
            </a:lnSpc>
            <a:spcBef>
              <a:spcPct val="0"/>
            </a:spcBef>
            <a:spcAft>
              <a:spcPct val="15000"/>
            </a:spcAft>
            <a:buChar char="•"/>
          </a:pPr>
          <a:r>
            <a:rPr lang="de-AT" sz="1100" b="0" kern="1200"/>
            <a:t>RE, EE, </a:t>
          </a:r>
          <a:r>
            <a:rPr lang="de-AT" sz="1100" b="0" kern="1200" err="1"/>
            <a:t>energy</a:t>
          </a:r>
          <a:r>
            <a:rPr lang="de-AT" sz="1100" b="0" kern="1200"/>
            <a:t> </a:t>
          </a:r>
          <a:r>
            <a:rPr lang="de-AT" sz="1100" b="0" kern="1200" err="1"/>
            <a:t>storage</a:t>
          </a:r>
          <a:r>
            <a:rPr lang="de-AT" sz="1100" b="0" kern="1200"/>
            <a:t>, </a:t>
          </a:r>
          <a:r>
            <a:rPr lang="de-AT" sz="1100" b="0" kern="1200" err="1"/>
            <a:t>energy</a:t>
          </a:r>
          <a:r>
            <a:rPr lang="de-AT" sz="1100" b="0" kern="1200"/>
            <a:t> </a:t>
          </a:r>
          <a:r>
            <a:rPr lang="de-AT" sz="1100" b="0" kern="1200" err="1"/>
            <a:t>networks</a:t>
          </a:r>
          <a:r>
            <a:rPr lang="de-AT" sz="1100" b="0" kern="1200"/>
            <a:t> </a:t>
          </a:r>
          <a:r>
            <a:rPr lang="de-AT" sz="1100" b="0" kern="1200" err="1"/>
            <a:t>for</a:t>
          </a:r>
          <a:r>
            <a:rPr lang="de-AT" sz="1100" b="0" kern="1200"/>
            <a:t> 10 </a:t>
          </a:r>
          <a:r>
            <a:rPr lang="de-AT" sz="1100" b="0" kern="1200" err="1"/>
            <a:t>lower-income</a:t>
          </a:r>
          <a:r>
            <a:rPr lang="de-AT" sz="1100" b="0" kern="1200"/>
            <a:t> countries</a:t>
          </a:r>
        </a:p>
      </dsp:txBody>
      <dsp:txXfrm>
        <a:off x="6139290" y="1491338"/>
        <a:ext cx="1299032" cy="17039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3A49E-5D1B-4385-918E-CCE8BC34A1D6}">
      <dsp:nvSpPr>
        <dsp:cNvPr id="0" name=""/>
        <dsp:cNvSpPr/>
      </dsp:nvSpPr>
      <dsp:spPr>
        <a:xfrm>
          <a:off x="1878280" y="0"/>
          <a:ext cx="1147069" cy="860302"/>
        </a:xfrm>
        <a:prstGeom prst="upArrow">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4501BF0F-F77E-4066-BB27-3E64B3F8F684}">
      <dsp:nvSpPr>
        <dsp:cNvPr id="0" name=""/>
        <dsp:cNvSpPr/>
      </dsp:nvSpPr>
      <dsp:spPr>
        <a:xfrm>
          <a:off x="3059761" y="0"/>
          <a:ext cx="6284781" cy="860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0" rIns="256032" bIns="256032" numCol="1" spcCol="1270" anchor="ctr" anchorCtr="0">
          <a:noAutofit/>
        </a:bodyPr>
        <a:lstStyle/>
        <a:p>
          <a:pPr marL="0" lvl="0" indent="0" algn="l" defTabSz="1600200">
            <a:lnSpc>
              <a:spcPct val="90000"/>
            </a:lnSpc>
            <a:spcBef>
              <a:spcPct val="0"/>
            </a:spcBef>
            <a:spcAft>
              <a:spcPct val="35000"/>
            </a:spcAft>
            <a:buNone/>
          </a:pPr>
          <a:r>
            <a:rPr lang="de-AT" sz="3600" kern="1200"/>
            <a:t>National </a:t>
          </a:r>
          <a:r>
            <a:rPr lang="de-AT" sz="3600" kern="1200" err="1"/>
            <a:t>funding</a:t>
          </a:r>
          <a:r>
            <a:rPr lang="de-AT" sz="3600" kern="1200"/>
            <a:t> </a:t>
          </a:r>
          <a:r>
            <a:rPr lang="de-AT" sz="2400" kern="1200"/>
            <a:t>(</a:t>
          </a:r>
          <a:r>
            <a:rPr lang="de-AT" sz="2400" kern="1200" err="1"/>
            <a:t>including</a:t>
          </a:r>
          <a:r>
            <a:rPr lang="de-AT" sz="2400" kern="1200"/>
            <a:t> RRPs)</a:t>
          </a:r>
        </a:p>
      </dsp:txBody>
      <dsp:txXfrm>
        <a:off x="3059761" y="0"/>
        <a:ext cx="6284781" cy="86030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arrow4">
  <dgm:title val=""/>
  <dgm:desc val=""/>
  <dgm:catLst>
    <dgm:cat type="relationship" pri="8000"/>
    <dgm:cat type="process" pri="30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shape xmlns:r="http://schemas.openxmlformats.org/officeDocument/2006/relationships" r:blip="">
      <dgm:adjLst/>
    </dgm:shape>
    <dgm:presOf/>
    <dgm:choose name="Name0">
      <dgm:if name="Name1" func="var" arg="dir" op="equ" val="norm">
        <dgm:choose name="Name2">
          <dgm:if name="Name3" axis="ch" ptType="node" func="cnt" op="lte" val="1">
            <dgm:constrLst>
              <dgm:constr type="primFontSz" for="des" ptType="node" op="equ" val="65"/>
              <dgm:constr type="w" for="ch" forName="upArrow" refType="w" fact="0.33"/>
              <dgm:constr type="h" for="ch" forName="upArrow" refType="h"/>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dgm:constr type="b" for="ch" forName="upArrowText" refType="h" fact="0.48"/>
              <dgm:constr type="l" for="ch" forName="upArrowText" refType="w" refFor="ch" refForName="upArrow" fact="1.03"/>
            </dgm:constrLst>
          </dgm:if>
          <dgm:else name="Name4">
            <dgm:constrLst>
              <dgm:constr type="primFontSz" for="des" ptType="node" op="equ" val="65"/>
              <dgm:constr type="w" for="ch" forName="upArrow" refType="w" fact="0.33"/>
              <dgm:constr type="h" for="ch" forName="upArrow" refType="h" fact="0.48"/>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fact="0.48"/>
              <dgm:constr type="b" for="ch" forName="upArrowText" refType="h" fact="0.48"/>
              <dgm:constr type="l" for="ch" forName="upArrowText" refType="w" refFor="ch" refForName="upArrow" fact="1.03"/>
              <dgm:constr type="w" for="ch" forName="downArrow" refType="w" fact="0.33"/>
              <dgm:constr type="h" for="ch" forName="downArrow" refType="h" fact="0.48"/>
              <dgm:constr type="t" for="ch" forName="downArrow" refType="h" fact="0.52"/>
              <dgm:constr type="l" for="ch" forName="downArrow" refType="w" refFor="ch" refForName="downArrow" fact="0.3"/>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refType="w" refFor="ch" refForName="downArrow" fact="1.33"/>
            </dgm:constrLst>
          </dgm:else>
        </dgm:choose>
      </dgm:if>
      <dgm:else name="Name5">
        <dgm:choose name="Name6">
          <dgm:if name="Name7" axis="ch" ptType="node" func="cnt" op="lte" val="1">
            <dgm:constrLst>
              <dgm:constr type="primFontSz" for="des" ptType="node" op="equ" val="65"/>
              <dgm:constr type="w" for="ch" forName="upArrow" refType="w" fact="0.33"/>
              <dgm:constr type="h" for="ch" forName="upArrow" refType="h"/>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dgm:constr type="t" for="ch" forName="upArrowText"/>
              <dgm:constr type="l" for="ch" forName="upArrowText" refType="w" fact="0.1"/>
            </dgm:constrLst>
          </dgm:if>
          <dgm:else name="Name8">
            <dgm:constrLst>
              <dgm:constr type="primFontSz" for="des" ptType="node" op="equ" val="65"/>
              <dgm:constr type="w" for="ch" forName="upArrow" refType="w" fact="0.33"/>
              <dgm:constr type="h" for="ch" forName="upArrow" refType="h" fact="0.48"/>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fact="0.48"/>
              <dgm:constr type="t" for="ch" forName="upArrowText"/>
              <dgm:constr type="l" for="ch" forName="upArrowText" refType="w" fact="0.1"/>
              <dgm:constr type="w" for="ch" forName="downArrow" refType="w" fact="0.33"/>
              <dgm:constr type="h" for="ch" forName="downArrow" refType="h" fact="0.48"/>
              <dgm:constr type="t" for="ch" forName="downArrow" refType="h" fact="0.52"/>
              <dgm:constr type="l" for="ch" forName="downArrow" refType="w" fact="0.57"/>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dgm:constrLst>
          </dgm:else>
        </dgm:choose>
      </dgm:else>
    </dgm:choose>
    <dgm:ruleLst/>
    <dgm:forEach name="Name9" axis="ch" ptType="node" cnt="1">
      <dgm:layoutNode name="upArrow" styleLbl="node1">
        <dgm:alg type="sp"/>
        <dgm:shape xmlns:r="http://schemas.openxmlformats.org/officeDocument/2006/relationships" type="upArrow" r:blip="">
          <dgm:adjLst/>
        </dgm:shape>
        <dgm:presOf/>
        <dgm:constrLst/>
        <dgm:ruleLst/>
      </dgm:layoutNode>
      <dgm:layoutNode name="upArrowText" styleLbl="revTx">
        <dgm:varLst>
          <dgm:chMax val="0"/>
          <dgm:bulletEnabled val="1"/>
        </dgm:varLst>
        <dgm:choose name="Name10">
          <dgm:if name="Name11" axis="root des" ptType="all node" func="maxDepth" op="gt" val="1">
            <dgm:alg type="tx">
              <dgm:param type="parTxLTRAlign" val="l"/>
              <dgm:param type="parTxRTLAlign" val="r"/>
              <dgm:param type="txAnchorVertCh" val="mid"/>
            </dgm:alg>
          </dgm:if>
          <dgm:else name="Name12">
            <dgm:choose name="Name13">
              <dgm:if name="Name14" func="var" arg="dir" op="equ" val="norm">
                <dgm:alg type="tx">
                  <dgm:param type="parTxLTRAlign" val="l"/>
                  <dgm:param type="parTxRTLAlign" val="l"/>
                  <dgm:param type="txAnchorVertCh" val="mid"/>
                </dgm:alg>
              </dgm:if>
              <dgm:else name="Name15">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forEach name="Name16" axis="ch" ptType="node" st="2"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chMax val="0"/>
          <dgm:bulletEnabled val="1"/>
        </dgm:varLst>
        <dgm:choose name="Name17">
          <dgm:if name="Name18" axis="root des" ptType="all node" func="maxDepth" op="gt" val="1">
            <dgm:alg type="tx">
              <dgm:param type="parTxLTRAlign" val="l"/>
              <dgm:param type="parTxRTLAlign" val="r"/>
              <dgm:param type="txAnchorVertCh" val="mid"/>
            </dgm:alg>
          </dgm:if>
          <dgm:else name="Name19">
            <dgm:choose name="Name20">
              <dgm:if name="Name21" func="var" arg="dir" op="equ" val="norm">
                <dgm:alg type="tx">
                  <dgm:param type="parTxLTRAlign" val="l"/>
                  <dgm:param type="parTxRTLAlign" val="l"/>
                  <dgm:param type="txAnchorVertCh" val="mid"/>
                </dgm:alg>
              </dgm:if>
              <dgm:else name="Name22">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10683" cy="494915"/>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GB"/>
          </a:p>
        </p:txBody>
      </p:sp>
      <p:sp>
        <p:nvSpPr>
          <p:cNvPr id="3" name="Date Placeholder 2"/>
          <p:cNvSpPr>
            <a:spLocks noGrp="1"/>
          </p:cNvSpPr>
          <p:nvPr>
            <p:ph type="dt" idx="1"/>
          </p:nvPr>
        </p:nvSpPr>
        <p:spPr>
          <a:xfrm>
            <a:off x="3806035" y="1"/>
            <a:ext cx="2910683" cy="494915"/>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CC43117B-7DBD-418D-93A3-588204A11F6A}" type="datetimeFigureOut">
              <a:rPr lang="en-GB"/>
              <a:pPr>
                <a:defRPr/>
              </a:pPr>
              <a:t>24/05/2023</a:t>
            </a:fld>
            <a:endParaRPr lang="en-GB"/>
          </a:p>
        </p:txBody>
      </p:sp>
      <p:sp>
        <p:nvSpPr>
          <p:cNvPr id="4" name="Slide Image Placeholder 3"/>
          <p:cNvSpPr>
            <a:spLocks noGrp="1" noRot="1" noChangeAspect="1"/>
          </p:cNvSpPr>
          <p:nvPr>
            <p:ph type="sldImg" idx="2"/>
          </p:nvPr>
        </p:nvSpPr>
        <p:spPr>
          <a:xfrm>
            <a:off x="403225" y="1231900"/>
            <a:ext cx="5911850" cy="3325813"/>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72305" y="4743205"/>
            <a:ext cx="5373690" cy="3879497"/>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0" y="9360285"/>
            <a:ext cx="2910683" cy="49491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GB"/>
          </a:p>
        </p:txBody>
      </p:sp>
      <p:sp>
        <p:nvSpPr>
          <p:cNvPr id="7" name="Slide Number Placeholder 6"/>
          <p:cNvSpPr>
            <a:spLocks noGrp="1"/>
          </p:cNvSpPr>
          <p:nvPr>
            <p:ph type="sldNum" sz="quarter" idx="5"/>
          </p:nvPr>
        </p:nvSpPr>
        <p:spPr>
          <a:xfrm>
            <a:off x="3806035" y="9360285"/>
            <a:ext cx="2910683" cy="494915"/>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19394C6F-1B97-4D3D-BABD-65518603564F}" type="slidenum">
              <a:rPr lang="en-GB"/>
              <a:pPr>
                <a:defRPr/>
              </a:pPr>
              <a:t>‹N°›</a:t>
            </a:fld>
            <a:endParaRPr lang="en-GB"/>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540F60-8A86-4272-89DB-C08BFD986014}"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055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IE" altLang="en-US" dirty="0"/>
          </a:p>
        </p:txBody>
      </p:sp>
      <p:sp>
        <p:nvSpPr>
          <p:cNvPr id="276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2F3CE39-660E-4CC3-96AE-183152B2E7D2}" type="slidenum">
              <a:rPr lang="en-GB" altLang="en-US">
                <a:solidFill>
                  <a:srgbClr val="000000"/>
                </a:solidFill>
                <a:latin typeface="Calibri" panose="020F0502020204030204" pitchFamily="34" charset="0"/>
              </a:rPr>
              <a:pPr fontAlgn="base">
                <a:spcBef>
                  <a:spcPct val="0"/>
                </a:spcBef>
                <a:spcAft>
                  <a:spcPct val="0"/>
                </a:spcAft>
              </a:pPr>
              <a:t>3</a:t>
            </a:fld>
            <a:endParaRPr lang="en-GB"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2884440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cs typeface="Calibri"/>
              </a:rPr>
              <a:t>The Innovation Fund is a unique programme on the EU funding landscape as it </a:t>
            </a:r>
            <a:r>
              <a:rPr lang="en-GB"/>
              <a:t>supports key stages of technological development: from large-scale demonstration to upscaling and roll out of innovative technologies. It does this in complementarity and in synergy with all other EU programmes you see on the slide – Horizon Europe, Modernisation Fund, Connecting Europe Facility, Life programme, Invest EU, Recovery and Resilience Facility.</a:t>
            </a:r>
            <a:endParaRPr lang="en-US">
              <a:cs typeface="Calibri"/>
            </a:endParaRPr>
          </a:p>
          <a:p>
            <a:pPr>
              <a:spcBef>
                <a:spcPct val="0"/>
              </a:spcBef>
            </a:pPr>
            <a:endParaRPr lang="en-GB" altLang="en-US" sz="1000"/>
          </a:p>
          <a:p>
            <a:pPr>
              <a:spcBef>
                <a:spcPct val="0"/>
              </a:spcBef>
            </a:pPr>
            <a:r>
              <a:rPr lang="en-GB" altLang="en-US" sz="1000"/>
              <a:t>In terms of technology development,</a:t>
            </a:r>
            <a:r>
              <a:rPr lang="en-GB" altLang="en-US" sz="1000" baseline="0"/>
              <a:t> the Innovation Fund grant programme aims to bridge the gap between the pilot/demo phases of a technology and its actual commercialisation. This gap, also called ‘valley of death’ was not appropriately addressed by the EU funding before the Innovation Fund.</a:t>
            </a:r>
            <a:endParaRPr lang="en-US">
              <a:cs typeface="Calibri"/>
            </a:endParaRPr>
          </a:p>
          <a:p>
            <a:pPr>
              <a:spcBef>
                <a:spcPct val="0"/>
              </a:spcBef>
            </a:pPr>
            <a:r>
              <a:rPr lang="en-GB" altLang="en-US" sz="1000" baseline="0"/>
              <a:t>Later technology roll-out can also be funded and it will be targeted by the auctions </a:t>
            </a:r>
            <a:r>
              <a:rPr lang="en-GB" altLang="en-US" sz="1000"/>
              <a:t>under development </a:t>
            </a:r>
            <a:r>
              <a:rPr lang="en-GB" altLang="en-US" sz="1000" baseline="0"/>
              <a:t>under the Innovation Fund.</a:t>
            </a:r>
            <a:endParaRPr lang="en-GB" altLang="en-US" sz="1000">
              <a:cs typeface="Calibri" panose="020F0502020204030204"/>
            </a:endParaRPr>
          </a:p>
          <a:p>
            <a:pPr>
              <a:spcBef>
                <a:spcPct val="0"/>
              </a:spcBef>
            </a:pPr>
            <a:endParaRPr lang="en-GB" altLang="en-US" sz="1000">
              <a:cs typeface="Calibri" panose="020F0502020204030204"/>
            </a:endParaRPr>
          </a:p>
          <a:p>
            <a:pPr>
              <a:spcBef>
                <a:spcPct val="0"/>
              </a:spcBef>
            </a:pPr>
            <a:r>
              <a:rPr lang="en-GB" altLang="en-US" sz="1000"/>
              <a:t>However, the impact of the programme is dependant on its size. This is why, we are working with the MS to help them identify and fund Innovation Fund projects on their territory. We will talk about this later during the detailed presentations.</a:t>
            </a:r>
          </a:p>
        </p:txBody>
      </p:sp>
    </p:spTree>
    <p:extLst>
      <p:ext uri="{BB962C8B-B14F-4D97-AF65-F5344CB8AC3E}">
        <p14:creationId xmlns:p14="http://schemas.microsoft.com/office/powerpoint/2010/main" val="3059868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IE">
              <a:solidFill>
                <a:srgbClr val="FF0000"/>
              </a:solidFill>
            </a:endParaRPr>
          </a:p>
        </p:txBody>
      </p:sp>
      <p:sp>
        <p:nvSpPr>
          <p:cNvPr id="4" name="Slide Number Placeholder 3"/>
          <p:cNvSpPr>
            <a:spLocks noGrp="1"/>
          </p:cNvSpPr>
          <p:nvPr>
            <p:ph type="sldNum" sz="quarter" idx="10"/>
          </p:nvPr>
        </p:nvSpPr>
        <p:spPr/>
        <p:txBody>
          <a:bodyPr/>
          <a:lstStyle/>
          <a:p>
            <a:fld id="{B1086652-B5AF-4E70-BF75-8AEE5E30C97A}" type="slidenum">
              <a:rPr lang="en-GB" smtClean="0"/>
              <a:t>5</a:t>
            </a:fld>
            <a:endParaRPr lang="en-GB"/>
          </a:p>
        </p:txBody>
      </p:sp>
    </p:spTree>
    <p:extLst>
      <p:ext uri="{BB962C8B-B14F-4D97-AF65-F5344CB8AC3E}">
        <p14:creationId xmlns:p14="http://schemas.microsoft.com/office/powerpoint/2010/main" val="406105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endParaRPr lang="en-IE" baseline="0" dirty="0"/>
          </a:p>
        </p:txBody>
      </p:sp>
      <p:sp>
        <p:nvSpPr>
          <p:cNvPr id="4" name="Slide Number Placeholder 3"/>
          <p:cNvSpPr>
            <a:spLocks noGrp="1"/>
          </p:cNvSpPr>
          <p:nvPr>
            <p:ph type="sldNum" sz="quarter" idx="10"/>
          </p:nvPr>
        </p:nvSpPr>
        <p:spPr/>
        <p:txBody>
          <a:bodyPr/>
          <a:lstStyle/>
          <a:p>
            <a:fld id="{59CF2995-AB43-4B7C-B8CD-9DC7C3692A9C}" type="slidenum">
              <a:rPr lang="en-GB" smtClean="0"/>
              <a:t>7</a:t>
            </a:fld>
            <a:endParaRPr lang="en-GB"/>
          </a:p>
        </p:txBody>
      </p:sp>
    </p:spTree>
    <p:extLst>
      <p:ext uri="{BB962C8B-B14F-4D97-AF65-F5344CB8AC3E}">
        <p14:creationId xmlns:p14="http://schemas.microsoft.com/office/powerpoint/2010/main" val="2437094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1086652-B5AF-4E70-BF75-8AEE5E30C97A}" type="slidenum">
              <a:rPr lang="en-GB" smtClean="0"/>
              <a:t>9</a:t>
            </a:fld>
            <a:endParaRPr lang="en-GB"/>
          </a:p>
        </p:txBody>
      </p:sp>
    </p:spTree>
    <p:extLst>
      <p:ext uri="{BB962C8B-B14F-4D97-AF65-F5344CB8AC3E}">
        <p14:creationId xmlns:p14="http://schemas.microsoft.com/office/powerpoint/2010/main" val="3784532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59CF2995-AB43-4B7C-B8CD-9DC7C3692A9C}" type="slidenum">
              <a:rPr lang="en-GB" smtClean="0"/>
              <a:t>11</a:t>
            </a:fld>
            <a:endParaRPr lang="en-GB"/>
          </a:p>
        </p:txBody>
      </p:sp>
    </p:spTree>
    <p:extLst>
      <p:ext uri="{BB962C8B-B14F-4D97-AF65-F5344CB8AC3E}">
        <p14:creationId xmlns:p14="http://schemas.microsoft.com/office/powerpoint/2010/main" val="992738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4126" b="16076"/>
          <a:stretch/>
        </p:blipFill>
        <p:spPr>
          <a:xfrm>
            <a:off x="0" y="1743991"/>
            <a:ext cx="12207255" cy="5114009"/>
          </a:xfrm>
          <a:prstGeom prst="rect">
            <a:avLst/>
          </a:prstGeom>
        </p:spPr>
      </p:pic>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6A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a:prstGeom prst="rect">
            <a:avLst/>
          </a:prstGeo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2923756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prstGeom prst="rect">
            <a:avLst/>
          </a:prstGeo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838200" y="6131286"/>
            <a:ext cx="2743200" cy="365125"/>
          </a:xfrm>
          <a:prstGeom prst="rect">
            <a:avLst/>
          </a:prstGeom>
        </p:spPr>
        <p:txBody>
          <a:bodyPr/>
          <a:lstStyle/>
          <a:p>
            <a:fld id="{F46C79FD-C571-418B-AB0F-5EE936C85276}" type="slidenum">
              <a:rPr lang="en-GB" smtClean="0"/>
              <a:pPr/>
              <a:t>‹N°›</a:t>
            </a:fld>
            <a:endParaRPr lang="en-GB"/>
          </a:p>
        </p:txBody>
      </p:sp>
      <p:sp>
        <p:nvSpPr>
          <p:cNvPr id="6" name="Text Placeholder 5"/>
          <p:cNvSpPr>
            <a:spLocks noGrp="1"/>
          </p:cNvSpPr>
          <p:nvPr>
            <p:ph type="body" sz="quarter" idx="14"/>
          </p:nvPr>
        </p:nvSpPr>
        <p:spPr>
          <a:xfrm>
            <a:off x="838200" y="3630613"/>
            <a:ext cx="10515600" cy="2035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742212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38200" y="6131286"/>
            <a:ext cx="2743200" cy="365125"/>
          </a:xfrm>
          <a:prstGeom prst="rect">
            <a:avLst/>
          </a:prstGeom>
        </p:spPr>
        <p:txBody>
          <a:bodyPr/>
          <a:lstStyle/>
          <a:p>
            <a:fld id="{F46C79FD-C571-418B-AB0F-5EE936C85276}" type="slidenum">
              <a:rPr lang="en-GB" smtClean="0"/>
              <a:pPr/>
              <a:t>‹N°›</a:t>
            </a:fld>
            <a:endParaRPr lang="en-GB"/>
          </a:p>
        </p:txBody>
      </p:sp>
    </p:spTree>
    <p:extLst>
      <p:ext uri="{BB962C8B-B14F-4D97-AF65-F5344CB8AC3E}">
        <p14:creationId xmlns:p14="http://schemas.microsoft.com/office/powerpoint/2010/main" val="1233453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Full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365125"/>
            <a:ext cx="10820400" cy="1201191"/>
          </a:xfrm>
        </p:spPr>
        <p:txBody>
          <a:bodyPr>
            <a:noAutofit/>
          </a:bodyPr>
          <a:lstStyle/>
          <a:p>
            <a:r>
              <a:rPr lang="en-US"/>
              <a:t>Click to edit Master title style</a:t>
            </a:r>
          </a:p>
        </p:txBody>
      </p:sp>
      <p:sp>
        <p:nvSpPr>
          <p:cNvPr id="5" name="Content Placeholder 4"/>
          <p:cNvSpPr>
            <a:spLocks noGrp="1"/>
          </p:cNvSpPr>
          <p:nvPr>
            <p:ph sz="quarter" idx="11"/>
          </p:nvPr>
        </p:nvSpPr>
        <p:spPr>
          <a:xfrm>
            <a:off x="685271" y="1703296"/>
            <a:ext cx="10820400" cy="4265704"/>
          </a:xfrm>
        </p:spPr>
        <p:txBody>
          <a:bodyPr>
            <a:noAutofit/>
          </a:bodyPr>
          <a:lstStyle>
            <a:lvl1pPr marL="0" indent="0">
              <a:buNone/>
              <a:defRPr sz="2333" b="0" baseline="0"/>
            </a:lvl1pPr>
            <a:lvl2pPr marL="168268" indent="0">
              <a:buNone/>
              <a:defRPr sz="1667" baseline="0">
                <a:latin typeface="+mj-lt"/>
              </a:defRPr>
            </a:lvl2pPr>
            <a:lvl3pPr marL="400034" indent="0">
              <a:buNone/>
              <a:defRPr sz="1667" baseline="0">
                <a:latin typeface="+mj-lt"/>
              </a:defRPr>
            </a:lvl3pPr>
            <a:lvl4pPr marL="576240" indent="0">
              <a:buNone/>
              <a:defRPr sz="1833"/>
            </a:lvl4pPr>
            <a:lvl5pPr marL="741334" indent="0">
              <a:buNone/>
              <a:defRPr sz="1833"/>
            </a:lvl5pPr>
          </a:lstStyle>
          <a:p>
            <a:pPr lvl="0"/>
            <a:r>
              <a:rPr lang="en-US"/>
              <a:t>Click to edit Master text styles</a:t>
            </a:r>
          </a:p>
          <a:p>
            <a:pPr lvl="1"/>
            <a:r>
              <a:rPr lang="en-US"/>
              <a:t>Second level</a:t>
            </a:r>
          </a:p>
          <a:p>
            <a:pPr lvl="2"/>
            <a:r>
              <a:rPr lang="en-US"/>
              <a:t>Third level</a:t>
            </a:r>
          </a:p>
        </p:txBody>
      </p:sp>
      <p:sp>
        <p:nvSpPr>
          <p:cNvPr id="4" name="Slide Number Placeholder 1"/>
          <p:cNvSpPr>
            <a:spLocks noGrp="1"/>
          </p:cNvSpPr>
          <p:nvPr>
            <p:ph type="sldNum" sz="quarter" idx="4"/>
          </p:nvPr>
        </p:nvSpPr>
        <p:spPr>
          <a:xfrm>
            <a:off x="10701131" y="6352802"/>
            <a:ext cx="732364" cy="298823"/>
          </a:xfrm>
          <a:prstGeom prst="rect">
            <a:avLst/>
          </a:prstGeom>
        </p:spPr>
        <p:txBody>
          <a:bodyPr vert="horz" lIns="0" tIns="0" rIns="0" bIns="0" rtlCol="0" anchor="b"/>
          <a:lstStyle>
            <a:lvl1pPr algn="r">
              <a:defRPr sz="833">
                <a:solidFill>
                  <a:schemeClr val="tx1">
                    <a:tint val="75000"/>
                  </a:schemeClr>
                </a:solidFill>
              </a:defRPr>
            </a:lvl1pPr>
          </a:lstStyle>
          <a:p>
            <a:fld id="{11EC18AE-5831-5845-B137-5B56E031790C}" type="slidenum">
              <a:rPr lang="en-US" smtClean="0"/>
              <a:pPr/>
              <a:t>‹N°›</a:t>
            </a:fld>
            <a:endParaRPr lang="en-US"/>
          </a:p>
        </p:txBody>
      </p:sp>
      <p:sp>
        <p:nvSpPr>
          <p:cNvPr id="6" name="Footer Placeholder 6"/>
          <p:cNvSpPr>
            <a:spLocks noGrp="1"/>
          </p:cNvSpPr>
          <p:nvPr>
            <p:ph type="ftr" sz="quarter" idx="3"/>
          </p:nvPr>
        </p:nvSpPr>
        <p:spPr>
          <a:xfrm>
            <a:off x="4921832" y="6352802"/>
            <a:ext cx="5356948" cy="298823"/>
          </a:xfrm>
          <a:prstGeom prst="rect">
            <a:avLst/>
          </a:prstGeom>
        </p:spPr>
        <p:txBody>
          <a:bodyPr vert="horz" lIns="0" tIns="0" rIns="0" bIns="0" rtlCol="0" anchor="b"/>
          <a:lstStyle>
            <a:lvl1pPr algn="ctr">
              <a:defRPr sz="833">
                <a:solidFill>
                  <a:schemeClr val="tx1">
                    <a:tint val="75000"/>
                  </a:schemeClr>
                </a:solidFill>
              </a:defRPr>
            </a:lvl1pPr>
          </a:lstStyle>
          <a:p>
            <a:endParaRPr lang="en-US"/>
          </a:p>
        </p:txBody>
      </p:sp>
    </p:spTree>
    <p:extLst>
      <p:ext uri="{BB962C8B-B14F-4D97-AF65-F5344CB8AC3E}">
        <p14:creationId xmlns:p14="http://schemas.microsoft.com/office/powerpoint/2010/main" val="34784033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65125"/>
            <a:ext cx="10820400" cy="1201191"/>
          </a:xfrm>
        </p:spPr>
        <p:txBody>
          <a:bodyPr/>
          <a:lstStyle/>
          <a:p>
            <a:r>
              <a:rPr lang="en-US"/>
              <a:t>Click to edit Master title style</a:t>
            </a:r>
          </a:p>
        </p:txBody>
      </p:sp>
      <p:sp>
        <p:nvSpPr>
          <p:cNvPr id="5" name="Content Placeholder 4"/>
          <p:cNvSpPr>
            <a:spLocks noGrp="1"/>
          </p:cNvSpPr>
          <p:nvPr>
            <p:ph sz="quarter" idx="11"/>
          </p:nvPr>
        </p:nvSpPr>
        <p:spPr>
          <a:xfrm>
            <a:off x="685271" y="1703296"/>
            <a:ext cx="10820400" cy="4265704"/>
          </a:xfrm>
        </p:spPr>
        <p:txBody>
          <a:bodyPr/>
          <a:lstStyle>
            <a:lvl2pPr>
              <a:defRPr baseline="0">
                <a:latin typeface="+mj-lt"/>
              </a:defRPr>
            </a:lvl2pPr>
            <a:lvl3pPr>
              <a:defRPr baseline="0">
                <a:latin typeface="+mj-lt"/>
              </a:defRPr>
            </a:lvl3pPr>
          </a:lstStyle>
          <a:p>
            <a:pPr lvl="0"/>
            <a:r>
              <a:rPr lang="en-US"/>
              <a:t>Click to edit Master text styles</a:t>
            </a:r>
          </a:p>
          <a:p>
            <a:pPr lvl="1"/>
            <a:r>
              <a:rPr lang="en-US"/>
              <a:t>Second level</a:t>
            </a:r>
          </a:p>
          <a:p>
            <a:pPr lvl="2"/>
            <a:r>
              <a:rPr lang="en-US"/>
              <a:t>Third level</a:t>
            </a:r>
          </a:p>
        </p:txBody>
      </p:sp>
      <p:sp>
        <p:nvSpPr>
          <p:cNvPr id="7" name="Slide Number Placeholder 1"/>
          <p:cNvSpPr>
            <a:spLocks noGrp="1"/>
          </p:cNvSpPr>
          <p:nvPr>
            <p:ph type="sldNum" sz="quarter" idx="4"/>
          </p:nvPr>
        </p:nvSpPr>
        <p:spPr>
          <a:xfrm>
            <a:off x="10701131" y="6352802"/>
            <a:ext cx="732364" cy="298823"/>
          </a:xfrm>
          <a:prstGeom prst="rect">
            <a:avLst/>
          </a:prstGeom>
        </p:spPr>
        <p:txBody>
          <a:bodyPr vert="horz" lIns="0" tIns="0" rIns="0" bIns="0" rtlCol="0" anchor="b"/>
          <a:lstStyle>
            <a:lvl1pPr algn="r">
              <a:defRPr sz="833">
                <a:solidFill>
                  <a:schemeClr val="tx1">
                    <a:tint val="75000"/>
                  </a:schemeClr>
                </a:solidFill>
              </a:defRPr>
            </a:lvl1pPr>
          </a:lstStyle>
          <a:p>
            <a:fld id="{11EC18AE-5831-5845-B137-5B56E031790C}" type="slidenum">
              <a:rPr lang="en-US" smtClean="0"/>
              <a:pPr/>
              <a:t>‹N°›</a:t>
            </a:fld>
            <a:endParaRPr lang="en-US"/>
          </a:p>
        </p:txBody>
      </p:sp>
      <p:sp>
        <p:nvSpPr>
          <p:cNvPr id="8" name="Footer Placeholder 6"/>
          <p:cNvSpPr>
            <a:spLocks noGrp="1"/>
          </p:cNvSpPr>
          <p:nvPr>
            <p:ph type="ftr" sz="quarter" idx="3"/>
          </p:nvPr>
        </p:nvSpPr>
        <p:spPr>
          <a:xfrm>
            <a:off x="4921832" y="6352802"/>
            <a:ext cx="5356948" cy="298823"/>
          </a:xfrm>
          <a:prstGeom prst="rect">
            <a:avLst/>
          </a:prstGeom>
        </p:spPr>
        <p:txBody>
          <a:bodyPr vert="horz" lIns="0" tIns="0" rIns="0" bIns="0" rtlCol="0" anchor="b"/>
          <a:lstStyle>
            <a:lvl1pPr algn="ctr">
              <a:defRPr sz="833">
                <a:solidFill>
                  <a:schemeClr val="tx1">
                    <a:tint val="75000"/>
                  </a:schemeClr>
                </a:solidFill>
              </a:defRPr>
            </a:lvl1pPr>
          </a:lstStyle>
          <a:p>
            <a:endParaRPr lang="en-US"/>
          </a:p>
        </p:txBody>
      </p:sp>
    </p:spTree>
    <p:extLst>
      <p:ext uri="{BB962C8B-B14F-4D97-AF65-F5344CB8AC3E}">
        <p14:creationId xmlns:p14="http://schemas.microsoft.com/office/powerpoint/2010/main" val="29655651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51" name="Title 1"/>
          <p:cNvSpPr>
            <a:spLocks noGrp="1"/>
          </p:cNvSpPr>
          <p:nvPr>
            <p:ph type="title"/>
          </p:nvPr>
        </p:nvSpPr>
        <p:spPr>
          <a:xfrm>
            <a:off x="762000" y="1584158"/>
            <a:ext cx="10584448" cy="2586790"/>
          </a:xfrm>
          <a:prstGeom prst="rect">
            <a:avLst/>
          </a:prstGeom>
        </p:spPr>
        <p:txBody>
          <a:bodyPr lIns="0" anchor="b">
            <a:noAutofit/>
          </a:bodyPr>
          <a:lstStyle>
            <a:lvl1pPr marL="0" indent="0">
              <a:tabLst>
                <a:tab pos="2514764" algn="l"/>
              </a:tabLst>
              <a:defRPr sz="5333">
                <a:solidFill>
                  <a:srgbClr val="768591"/>
                </a:solidFill>
              </a:defRPr>
            </a:lvl1pPr>
          </a:lstStyle>
          <a:p>
            <a:r>
              <a:rPr lang="en-US"/>
              <a:t>Click to edit Master title style</a:t>
            </a:r>
          </a:p>
        </p:txBody>
      </p:sp>
      <p:sp>
        <p:nvSpPr>
          <p:cNvPr id="53" name="Text Placeholder 52"/>
          <p:cNvSpPr>
            <a:spLocks noGrp="1"/>
          </p:cNvSpPr>
          <p:nvPr>
            <p:ph type="body" sz="quarter" idx="11" hasCustomPrompt="1"/>
          </p:nvPr>
        </p:nvSpPr>
        <p:spPr>
          <a:xfrm>
            <a:off x="762000" y="4456113"/>
            <a:ext cx="10709418" cy="993775"/>
          </a:xfrm>
          <a:prstGeom prst="rect">
            <a:avLst/>
          </a:prstGeom>
        </p:spPr>
        <p:txBody>
          <a:bodyPr>
            <a:noAutofit/>
          </a:bodyPr>
          <a:lstStyle>
            <a:lvl1pPr marL="0" indent="0">
              <a:buFontTx/>
              <a:buNone/>
              <a:defRPr sz="3000" b="0">
                <a:solidFill>
                  <a:srgbClr val="768591"/>
                </a:solidFill>
              </a:defRPr>
            </a:lvl1pPr>
          </a:lstStyle>
          <a:p>
            <a:pPr lvl="0"/>
            <a:r>
              <a:rPr lang="en-US"/>
              <a:t>Click to add subtitle</a:t>
            </a:r>
          </a:p>
        </p:txBody>
      </p:sp>
      <p:sp>
        <p:nvSpPr>
          <p:cNvPr id="4" name="Slide Number Placeholder 1"/>
          <p:cNvSpPr>
            <a:spLocks noGrp="1"/>
          </p:cNvSpPr>
          <p:nvPr>
            <p:ph type="sldNum" sz="quarter" idx="4"/>
          </p:nvPr>
        </p:nvSpPr>
        <p:spPr>
          <a:xfrm>
            <a:off x="10701131" y="6352802"/>
            <a:ext cx="732364" cy="298823"/>
          </a:xfrm>
          <a:prstGeom prst="rect">
            <a:avLst/>
          </a:prstGeom>
        </p:spPr>
        <p:txBody>
          <a:bodyPr vert="horz" lIns="0" tIns="0" rIns="0" bIns="0" rtlCol="0" anchor="b"/>
          <a:lstStyle>
            <a:lvl1pPr algn="r">
              <a:defRPr sz="833">
                <a:solidFill>
                  <a:schemeClr val="tx1">
                    <a:tint val="75000"/>
                  </a:schemeClr>
                </a:solidFill>
              </a:defRPr>
            </a:lvl1pPr>
          </a:lstStyle>
          <a:p>
            <a:fld id="{11EC18AE-5831-5845-B137-5B56E031790C}" type="slidenum">
              <a:rPr lang="en-US" smtClean="0"/>
              <a:pPr/>
              <a:t>‹N°›</a:t>
            </a:fld>
            <a:endParaRPr lang="en-US"/>
          </a:p>
        </p:txBody>
      </p:sp>
      <p:sp>
        <p:nvSpPr>
          <p:cNvPr id="5" name="Footer Placeholder 6"/>
          <p:cNvSpPr>
            <a:spLocks noGrp="1"/>
          </p:cNvSpPr>
          <p:nvPr>
            <p:ph type="ftr" sz="quarter" idx="3"/>
          </p:nvPr>
        </p:nvSpPr>
        <p:spPr>
          <a:xfrm>
            <a:off x="4921832" y="6352802"/>
            <a:ext cx="5356948" cy="298823"/>
          </a:xfrm>
          <a:prstGeom prst="rect">
            <a:avLst/>
          </a:prstGeom>
        </p:spPr>
        <p:txBody>
          <a:bodyPr vert="horz" lIns="0" tIns="0" rIns="0" bIns="0" rtlCol="0" anchor="b"/>
          <a:lstStyle>
            <a:lvl1pPr algn="ctr">
              <a:defRPr sz="833">
                <a:solidFill>
                  <a:schemeClr val="tx1">
                    <a:tint val="75000"/>
                  </a:schemeClr>
                </a:solidFill>
              </a:defRPr>
            </a:lvl1pPr>
          </a:lstStyle>
          <a:p>
            <a:endParaRPr lang="en-US"/>
          </a:p>
        </p:txBody>
      </p:sp>
    </p:spTree>
    <p:extLst>
      <p:ext uri="{BB962C8B-B14F-4D97-AF65-F5344CB8AC3E}">
        <p14:creationId xmlns:p14="http://schemas.microsoft.com/office/powerpoint/2010/main" val="17717412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Image slide">
    <p:spTree>
      <p:nvGrpSpPr>
        <p:cNvPr id="1" name=""/>
        <p:cNvGrpSpPr/>
        <p:nvPr/>
      </p:nvGrpSpPr>
      <p:grpSpPr>
        <a:xfrm>
          <a:off x="0" y="0"/>
          <a:ext cx="0" cy="0"/>
          <a:chOff x="0" y="0"/>
          <a:chExt cx="0" cy="0"/>
        </a:xfrm>
      </p:grpSpPr>
      <p:sp>
        <p:nvSpPr>
          <p:cNvPr id="3" name="Tijdelijke aanduiding voor afbeelding 2"/>
          <p:cNvSpPr>
            <a:spLocks noGrp="1"/>
          </p:cNvSpPr>
          <p:nvPr>
            <p:ph type="pic" sz="quarter" idx="10" hasCustomPrompt="1"/>
          </p:nvPr>
        </p:nvSpPr>
        <p:spPr>
          <a:xfrm>
            <a:off x="0" y="1552352"/>
            <a:ext cx="12192000" cy="4437286"/>
          </a:xfrm>
          <a:prstGeom prst="rect">
            <a:avLst/>
          </a:prstGeom>
        </p:spPr>
        <p:txBody>
          <a:bodyPr anchor="ctr"/>
          <a:lstStyle>
            <a:lvl1pPr marL="0" indent="0" algn="ctr">
              <a:buNone/>
              <a:defRPr sz="1800"/>
            </a:lvl1pPr>
          </a:lstStyle>
          <a:p>
            <a:r>
              <a:rPr lang="nl-NL"/>
              <a:t>Image</a:t>
            </a:r>
          </a:p>
        </p:txBody>
      </p:sp>
      <p:sp>
        <p:nvSpPr>
          <p:cNvPr id="14" name="Tijdelijke aanduiding voor tekst 17"/>
          <p:cNvSpPr>
            <a:spLocks noGrp="1"/>
          </p:cNvSpPr>
          <p:nvPr>
            <p:ph type="body" sz="quarter" idx="11" hasCustomPrompt="1"/>
          </p:nvPr>
        </p:nvSpPr>
        <p:spPr>
          <a:xfrm>
            <a:off x="939800" y="445746"/>
            <a:ext cx="10896600" cy="993310"/>
          </a:xfrm>
          <a:prstGeom prst="rect">
            <a:avLst/>
          </a:prstGeom>
        </p:spPr>
        <p:txBody>
          <a:bodyPr anchor="b">
            <a:normAutofit/>
          </a:bodyPr>
          <a:lstStyle>
            <a:lvl1pPr marL="0" indent="0">
              <a:buNone/>
              <a:defRPr sz="3330" b="0">
                <a:solidFill>
                  <a:schemeClr val="accent3">
                    <a:lumMod val="75000"/>
                  </a:schemeClr>
                </a:solidFill>
                <a:latin typeface="+mj-lt"/>
                <a:cs typeface="Verdana"/>
              </a:defRPr>
            </a:lvl1pPr>
            <a:lvl2pPr>
              <a:defRPr sz="3600" b="1">
                <a:solidFill>
                  <a:schemeClr val="bg1"/>
                </a:solidFill>
              </a:defRPr>
            </a:lvl2pPr>
            <a:lvl3pPr>
              <a:defRPr sz="3600" b="1">
                <a:solidFill>
                  <a:schemeClr val="bg1"/>
                </a:solidFill>
              </a:defRPr>
            </a:lvl3pPr>
            <a:lvl4pPr>
              <a:defRPr sz="3600" b="1">
                <a:solidFill>
                  <a:schemeClr val="bg1"/>
                </a:solidFill>
              </a:defRPr>
            </a:lvl4pPr>
            <a:lvl5pPr>
              <a:defRPr sz="3600" b="1">
                <a:solidFill>
                  <a:schemeClr val="bg1"/>
                </a:solidFill>
              </a:defRPr>
            </a:lvl5pPr>
          </a:lstStyle>
          <a:p>
            <a:pPr lvl="0"/>
            <a:r>
              <a:rPr lang="nl-NL" err="1"/>
              <a:t>Heading</a:t>
            </a:r>
            <a:endParaRPr lang="nl-NL"/>
          </a:p>
        </p:txBody>
      </p:sp>
    </p:spTree>
    <p:extLst>
      <p:ext uri="{BB962C8B-B14F-4D97-AF65-F5344CB8AC3E}">
        <p14:creationId xmlns:p14="http://schemas.microsoft.com/office/powerpoint/2010/main" val="5671887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ext slide">
    <p:spTree>
      <p:nvGrpSpPr>
        <p:cNvPr id="1" name=""/>
        <p:cNvGrpSpPr/>
        <p:nvPr/>
      </p:nvGrpSpPr>
      <p:grpSpPr>
        <a:xfrm>
          <a:off x="0" y="0"/>
          <a:ext cx="0" cy="0"/>
          <a:chOff x="0" y="0"/>
          <a:chExt cx="0" cy="0"/>
        </a:xfrm>
      </p:grpSpPr>
      <p:sp>
        <p:nvSpPr>
          <p:cNvPr id="5" name="Tijdelijke aanduiding voor tekst 17"/>
          <p:cNvSpPr>
            <a:spLocks noGrp="1"/>
          </p:cNvSpPr>
          <p:nvPr>
            <p:ph type="body" sz="quarter" idx="11" hasCustomPrompt="1"/>
          </p:nvPr>
        </p:nvSpPr>
        <p:spPr>
          <a:xfrm>
            <a:off x="939800" y="445746"/>
            <a:ext cx="10896600" cy="993310"/>
          </a:xfrm>
          <a:prstGeom prst="rect">
            <a:avLst/>
          </a:prstGeom>
        </p:spPr>
        <p:txBody>
          <a:bodyPr tIns="36000" bIns="36000" anchor="b">
            <a:normAutofit/>
          </a:bodyPr>
          <a:lstStyle>
            <a:lvl1pPr marL="0" indent="0">
              <a:buNone/>
              <a:defRPr sz="3330" b="0">
                <a:solidFill>
                  <a:schemeClr val="accent3">
                    <a:lumMod val="75000"/>
                  </a:schemeClr>
                </a:solidFill>
                <a:latin typeface="+mj-lt"/>
                <a:cs typeface="Verdana"/>
              </a:defRPr>
            </a:lvl1pPr>
            <a:lvl2pPr>
              <a:defRPr sz="3600" b="1">
                <a:solidFill>
                  <a:schemeClr val="bg1"/>
                </a:solidFill>
              </a:defRPr>
            </a:lvl2pPr>
            <a:lvl3pPr>
              <a:defRPr sz="3600" b="1">
                <a:solidFill>
                  <a:schemeClr val="bg1"/>
                </a:solidFill>
              </a:defRPr>
            </a:lvl3pPr>
            <a:lvl4pPr>
              <a:defRPr sz="3600" b="1">
                <a:solidFill>
                  <a:schemeClr val="bg1"/>
                </a:solidFill>
              </a:defRPr>
            </a:lvl4pPr>
            <a:lvl5pPr>
              <a:defRPr sz="3600" b="1">
                <a:solidFill>
                  <a:schemeClr val="bg1"/>
                </a:solidFill>
              </a:defRPr>
            </a:lvl5pPr>
          </a:lstStyle>
          <a:p>
            <a:pPr lvl="0"/>
            <a:r>
              <a:rPr lang="nl-NL" err="1"/>
              <a:t>Heading</a:t>
            </a:r>
            <a:endParaRPr lang="nl-NL"/>
          </a:p>
        </p:txBody>
      </p:sp>
      <p:sp>
        <p:nvSpPr>
          <p:cNvPr id="7" name="Text Placeholder 6"/>
          <p:cNvSpPr>
            <a:spLocks noGrp="1"/>
          </p:cNvSpPr>
          <p:nvPr>
            <p:ph type="body" sz="quarter" idx="12"/>
          </p:nvPr>
        </p:nvSpPr>
        <p:spPr>
          <a:xfrm>
            <a:off x="939800" y="1765300"/>
            <a:ext cx="10896600" cy="3614738"/>
          </a:xfrm>
          <a:prstGeom prst="rect">
            <a:avLst/>
          </a:prstGeom>
        </p:spPr>
        <p:txBody>
          <a:bodyPr>
            <a:normAutofit/>
          </a:bodyPr>
          <a:lstStyle>
            <a:lvl1pPr>
              <a:defRPr lang="en-US" sz="2800" b="0" i="0" kern="1200" dirty="0" smtClean="0">
                <a:solidFill>
                  <a:srgbClr val="093B37"/>
                </a:solidFill>
                <a:latin typeface="Verdana"/>
                <a:ea typeface="+mn-ea"/>
                <a:cs typeface="Verdana"/>
              </a:defRPr>
            </a:lvl1pPr>
            <a:lvl2pPr>
              <a:defRPr lang="en-US" sz="2800" b="0" i="0" kern="1200" dirty="0" smtClean="0">
                <a:solidFill>
                  <a:srgbClr val="093B37"/>
                </a:solidFill>
                <a:latin typeface="Verdana"/>
                <a:ea typeface="+mn-ea"/>
                <a:cs typeface="Verdana"/>
              </a:defRPr>
            </a:lvl2pPr>
            <a:lvl3pPr>
              <a:defRPr lang="en-US" sz="2800" b="0" i="0" kern="1200" dirty="0" smtClean="0">
                <a:solidFill>
                  <a:srgbClr val="093B37"/>
                </a:solidFill>
                <a:latin typeface="Verdana"/>
                <a:ea typeface="+mn-ea"/>
                <a:cs typeface="Verdana"/>
              </a:defRPr>
            </a:lvl3pPr>
            <a:lvl4pPr>
              <a:defRPr lang="en-US" sz="2800" b="0" i="0" kern="1200" dirty="0" smtClean="0">
                <a:solidFill>
                  <a:srgbClr val="093B37"/>
                </a:solidFill>
                <a:latin typeface="Verdana"/>
                <a:ea typeface="+mn-ea"/>
                <a:cs typeface="Verdana"/>
              </a:defRPr>
            </a:lvl4pPr>
            <a:lvl5pPr>
              <a:defRPr lang="en-GB" sz="2800" b="0" i="0" kern="1200" dirty="0">
                <a:solidFill>
                  <a:srgbClr val="093B37"/>
                </a:solidFill>
                <a:latin typeface="Verdana"/>
                <a:ea typeface="+mn-e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042028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5693" y="273687"/>
            <a:ext cx="10515600" cy="576000"/>
          </a:xfrm>
        </p:spPr>
        <p:txBody>
          <a:bodyPr/>
          <a:lstStyle/>
          <a:p>
            <a:r>
              <a:rPr lang="fr-FR"/>
              <a:t>Cliquez et modifiez le titre</a:t>
            </a:r>
            <a:endParaRPr lang="en-US"/>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r>
              <a:rPr lang="en-US"/>
              <a:t>4</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68559C87-4400-0E45-97C7-BDEE4D66133D}" type="slidenum">
              <a:rPr lang="fr-FR" smtClean="0"/>
              <a:t>‹N°›</a:t>
            </a:fld>
            <a:endParaRPr lang="fr-FR"/>
          </a:p>
        </p:txBody>
      </p:sp>
      <p:sp>
        <p:nvSpPr>
          <p:cNvPr id="7" name="Espace réservé du texte 7"/>
          <p:cNvSpPr>
            <a:spLocks noGrp="1"/>
          </p:cNvSpPr>
          <p:nvPr>
            <p:ph type="body" sz="quarter" idx="13"/>
          </p:nvPr>
        </p:nvSpPr>
        <p:spPr>
          <a:xfrm>
            <a:off x="254400" y="870585"/>
            <a:ext cx="10513483" cy="576000"/>
          </a:xfrm>
        </p:spPr>
        <p:txBody>
          <a:bodyPr>
            <a:normAutofit/>
          </a:bodyPr>
          <a:lstStyle>
            <a:lvl1pPr marL="0" indent="0">
              <a:buNone/>
              <a:defRPr sz="2800">
                <a:solidFill>
                  <a:schemeClr val="accent2"/>
                </a:solidFill>
              </a:defRPr>
            </a:lvl1pPr>
          </a:lstStyle>
          <a:p>
            <a:pPr lvl="0"/>
            <a:r>
              <a:rPr lang="fr-FR"/>
              <a:t>Cliquez pour modifier les styles du texte du masque</a:t>
            </a:r>
          </a:p>
        </p:txBody>
      </p:sp>
    </p:spTree>
    <p:extLst>
      <p:ext uri="{BB962C8B-B14F-4D97-AF65-F5344CB8AC3E}">
        <p14:creationId xmlns:p14="http://schemas.microsoft.com/office/powerpoint/2010/main" val="2396916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34437" y="1268760"/>
            <a:ext cx="5659967" cy="489709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3" y="1268760"/>
            <a:ext cx="5659967" cy="489709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p>
            <a:r>
              <a:rPr lang="en-US"/>
              <a:t>4</a:t>
            </a:r>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B5726B0-BA77-4468-99C9-1D2C1D064D21}" type="slidenum">
              <a:rPr lang="en-GB" smtClean="0"/>
              <a:t>‹N°›</a:t>
            </a:fld>
            <a:endParaRPr lang="en-GB"/>
          </a:p>
        </p:txBody>
      </p:sp>
    </p:spTree>
    <p:extLst>
      <p:ext uri="{BB962C8B-B14F-4D97-AF65-F5344CB8AC3E}">
        <p14:creationId xmlns:p14="http://schemas.microsoft.com/office/powerpoint/2010/main" val="1897944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5693" y="273687"/>
            <a:ext cx="10515600" cy="576000"/>
          </a:xfrm>
        </p:spPr>
        <p:txBody>
          <a:bodyPr/>
          <a:lstStyle/>
          <a:p>
            <a:r>
              <a:rPr lang="fr-FR"/>
              <a:t>Cliquez et modifiez le titre</a:t>
            </a:r>
            <a:endParaRPr lang="en-US"/>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r>
              <a:rPr lang="en-US"/>
              <a:t>4</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68559C87-4400-0E45-97C7-BDEE4D66133D}" type="slidenum">
              <a:rPr lang="fr-FR" smtClean="0"/>
              <a:t>‹N°›</a:t>
            </a:fld>
            <a:endParaRPr lang="fr-FR"/>
          </a:p>
        </p:txBody>
      </p:sp>
      <p:sp>
        <p:nvSpPr>
          <p:cNvPr id="7" name="Espace réservé du texte 7"/>
          <p:cNvSpPr>
            <a:spLocks noGrp="1"/>
          </p:cNvSpPr>
          <p:nvPr>
            <p:ph type="body" sz="quarter" idx="13"/>
          </p:nvPr>
        </p:nvSpPr>
        <p:spPr>
          <a:xfrm>
            <a:off x="254400" y="870585"/>
            <a:ext cx="10513483" cy="576000"/>
          </a:xfrm>
        </p:spPr>
        <p:txBody>
          <a:bodyPr>
            <a:normAutofit/>
          </a:bodyPr>
          <a:lstStyle>
            <a:lvl1pPr marL="0" indent="0">
              <a:buNone/>
              <a:defRPr sz="2800">
                <a:solidFill>
                  <a:schemeClr val="accent2"/>
                </a:solidFill>
              </a:defRPr>
            </a:lvl1pPr>
          </a:lstStyle>
          <a:p>
            <a:pPr lvl="0"/>
            <a:r>
              <a:rPr lang="fr-FR"/>
              <a:t>Cliquez pour modifier les styles du texte du masque</a:t>
            </a:r>
          </a:p>
        </p:txBody>
      </p:sp>
    </p:spTree>
    <p:extLst>
      <p:ext uri="{BB962C8B-B14F-4D97-AF65-F5344CB8AC3E}">
        <p14:creationId xmlns:p14="http://schemas.microsoft.com/office/powerpoint/2010/main" val="28688063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38200" y="6131286"/>
            <a:ext cx="2743200" cy="365125"/>
          </a:xfrm>
          <a:prstGeom prst="rect">
            <a:avLst/>
          </a:prstGeom>
        </p:spPr>
        <p:txBody>
          <a:bodyPr>
            <a:noAutofit/>
          </a:bodyPr>
          <a:lstStyle/>
          <a:p>
            <a:fld id="{F46C79FD-C571-418B-AB0F-5EE936C85276}" type="slidenum">
              <a:rPr lang="en-GB" smtClean="0"/>
              <a:pPr/>
              <a:t>‹N°›</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hasCustomPrompt="1"/>
          </p:nvPr>
        </p:nvSpPr>
        <p:spPr>
          <a:xfrm>
            <a:off x="1071350" y="1992572"/>
            <a:ext cx="10065224" cy="2149523"/>
          </a:xfrm>
        </p:spPr>
        <p:txBody>
          <a:bodyPr wrap="none" anchor="t">
            <a:noAutofit/>
          </a:bodyPr>
          <a:lstStyle>
            <a:lvl1pPr algn="l">
              <a:defRPr sz="6000" b="0">
                <a:solidFill>
                  <a:srgbClr val="6AB5AC"/>
                </a:solidFill>
              </a:defRPr>
            </a:lvl1pPr>
          </a:lstStyle>
          <a:p>
            <a:r>
              <a:rPr lang="en-US"/>
              <a:t>Click to edit session tit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a:prstGeom prst="rect">
            <a:avLst/>
          </a:prstGeo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hasCustomPrompt="1"/>
          </p:nvPr>
        </p:nvSpPr>
        <p:spPr>
          <a:xfrm>
            <a:off x="6096000" y="5557903"/>
            <a:ext cx="5040313" cy="528998"/>
          </a:xfrm>
          <a:prstGeom prst="rect">
            <a:avLst/>
          </a:prstGeom>
        </p:spPr>
        <p:txBody>
          <a:bodyPr>
            <a:noAutofit/>
          </a:bodyPr>
          <a:lstStyle>
            <a:lvl1pPr marL="0" indent="0" algn="r">
              <a:buFontTx/>
              <a:buNone/>
              <a:defRPr sz="2200" i="1" baseline="0">
                <a:solidFill>
                  <a:srgbClr val="33A4B7"/>
                </a:solidFill>
              </a:defRPr>
            </a:lvl1pPr>
          </a:lstStyle>
          <a:p>
            <a:pPr lvl="0"/>
            <a:r>
              <a:rPr lang="en-US"/>
              <a:t>Speaker’s Name</a:t>
            </a:r>
          </a:p>
        </p:txBody>
      </p:sp>
    </p:spTree>
    <p:extLst>
      <p:ext uri="{BB962C8B-B14F-4D97-AF65-F5344CB8AC3E}">
        <p14:creationId xmlns:p14="http://schemas.microsoft.com/office/powerpoint/2010/main" val="37636863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6000" y="1742953"/>
            <a:ext cx="11044800" cy="1440000"/>
          </a:xfrm>
          <a:prstGeom prst="rect">
            <a:avLst/>
          </a:prstGeom>
        </p:spPr>
        <p:txBody>
          <a:bodyPr>
            <a:normAutofit/>
          </a:bodyPr>
          <a:lstStyle>
            <a:lvl1pPr algn="ctr">
              <a:defRPr sz="4000">
                <a:solidFill>
                  <a:schemeClr val="tx2"/>
                </a:solidFill>
              </a:defRPr>
            </a:lvl1pPr>
          </a:lstStyle>
          <a:p>
            <a:r>
              <a:rPr lang="en-US"/>
              <a:t>Click to edit Master title style</a:t>
            </a:r>
            <a:endParaRPr lang="en-GB"/>
          </a:p>
        </p:txBody>
      </p:sp>
      <p:sp>
        <p:nvSpPr>
          <p:cNvPr id="3" name="Subtitle 2"/>
          <p:cNvSpPr>
            <a:spLocks noGrp="1"/>
          </p:cNvSpPr>
          <p:nvPr>
            <p:ph type="subTitle" idx="1" hasCustomPrompt="1"/>
          </p:nvPr>
        </p:nvSpPr>
        <p:spPr>
          <a:xfrm>
            <a:off x="816000" y="3825044"/>
            <a:ext cx="11044800" cy="1752600"/>
          </a:xfrm>
          <a:prstGeom prst="rect">
            <a:avLst/>
          </a:prstGeom>
        </p:spPr>
        <p:txBody>
          <a:bodyPr>
            <a:normAutofit/>
          </a:bodyPr>
          <a:lstStyle>
            <a:lvl1pPr marL="0" indent="0" algn="ctr">
              <a:buNone/>
              <a:defRPr sz="3200" i="0" baseline="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text style</a:t>
            </a:r>
            <a:endParaRPr lang="en-GB"/>
          </a:p>
        </p:txBody>
      </p:sp>
      <p:sp>
        <p:nvSpPr>
          <p:cNvPr id="4" name="Date Placeholder 3"/>
          <p:cNvSpPr>
            <a:spLocks noGrp="1"/>
          </p:cNvSpPr>
          <p:nvPr>
            <p:ph type="dt" sz="half" idx="10"/>
          </p:nvPr>
        </p:nvSpPr>
        <p:spPr/>
        <p:txBody>
          <a:bodyPr/>
          <a:lstStyle/>
          <a:p>
            <a:r>
              <a:rPr lang="en-US"/>
              <a:t>4</a:t>
            </a:r>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D0A51CA-4611-42BC-8C78-05A9D4A054CC}" type="slidenum">
              <a:rPr lang="en-GB" smtClean="0"/>
              <a:t>‹N°›</a:t>
            </a:fld>
            <a:endParaRPr lang="en-GB"/>
          </a:p>
        </p:txBody>
      </p:sp>
    </p:spTree>
    <p:extLst>
      <p:ext uri="{BB962C8B-B14F-4D97-AF65-F5344CB8AC3E}">
        <p14:creationId xmlns:p14="http://schemas.microsoft.com/office/powerpoint/2010/main" val="22713806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Title Arrow 1">
    <p:bg>
      <p:bgPr>
        <a:solidFill>
          <a:srgbClr val="30F298"/>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DC88199-548B-DC4B-9938-8478EBF73A3C}"/>
              </a:ext>
            </a:extLst>
          </p:cNvPr>
          <p:cNvSpPr/>
          <p:nvPr userDrawn="1"/>
        </p:nvSpPr>
        <p:spPr>
          <a:xfrm>
            <a:off x="0" y="0"/>
            <a:ext cx="12192000" cy="6858000"/>
          </a:xfrm>
          <a:prstGeom prst="rect">
            <a:avLst/>
          </a:prstGeom>
          <a:solidFill>
            <a:srgbClr val="A4E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2" name="Title 1">
            <a:extLst>
              <a:ext uri="{FF2B5EF4-FFF2-40B4-BE49-F238E27FC236}">
                <a16:creationId xmlns:a16="http://schemas.microsoft.com/office/drawing/2014/main" id="{0EBBD542-79BF-5144-A563-42BF3D453E0E}"/>
              </a:ext>
            </a:extLst>
          </p:cNvPr>
          <p:cNvSpPr>
            <a:spLocks noGrp="1"/>
          </p:cNvSpPr>
          <p:nvPr>
            <p:ph type="title" hasCustomPrompt="1"/>
          </p:nvPr>
        </p:nvSpPr>
        <p:spPr>
          <a:xfrm>
            <a:off x="4226011" y="989327"/>
            <a:ext cx="7007597" cy="5074881"/>
          </a:xfrm>
        </p:spPr>
        <p:txBody>
          <a:bodyPr anchor="ctr"/>
          <a:lstStyle>
            <a:lvl1pPr>
              <a:defRPr sz="3600" b="0" i="0">
                <a:solidFill>
                  <a:srgbClr val="0070C0"/>
                </a:solidFill>
                <a:latin typeface="DM Sans Medium" pitchFamily="2" charset="77"/>
              </a:defRPr>
            </a:lvl1pPr>
          </a:lstStyle>
          <a:p>
            <a:r>
              <a:rPr lang="en-US"/>
              <a:t>Click to edit section title </a:t>
            </a:r>
            <a:br>
              <a:rPr lang="en-US"/>
            </a:br>
            <a:r>
              <a:rPr lang="en-US"/>
              <a:t>(Option A)</a:t>
            </a:r>
          </a:p>
        </p:txBody>
      </p:sp>
      <p:sp>
        <p:nvSpPr>
          <p:cNvPr id="38" name="Rectangle 37">
            <a:extLst>
              <a:ext uri="{FF2B5EF4-FFF2-40B4-BE49-F238E27FC236}">
                <a16:creationId xmlns:a16="http://schemas.microsoft.com/office/drawing/2014/main" id="{E854E062-A4CF-E846-B1A7-2657E21E3E18}"/>
              </a:ext>
            </a:extLst>
          </p:cNvPr>
          <p:cNvSpPr/>
          <p:nvPr/>
        </p:nvSpPr>
        <p:spPr>
          <a:xfrm>
            <a:off x="0" y="6825864"/>
            <a:ext cx="12191999" cy="34438"/>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39" name="Rectangle 38">
            <a:extLst>
              <a:ext uri="{FF2B5EF4-FFF2-40B4-BE49-F238E27FC236}">
                <a16:creationId xmlns:a16="http://schemas.microsoft.com/office/drawing/2014/main" id="{DE136C2C-7EA3-944E-85D5-4AB9FA0786F7}"/>
              </a:ext>
            </a:extLst>
          </p:cNvPr>
          <p:cNvSpPr/>
          <p:nvPr/>
        </p:nvSpPr>
        <p:spPr>
          <a:xfrm>
            <a:off x="0" y="6705541"/>
            <a:ext cx="12191999" cy="23924"/>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0" name="Rectangle 39">
            <a:extLst>
              <a:ext uri="{FF2B5EF4-FFF2-40B4-BE49-F238E27FC236}">
                <a16:creationId xmlns:a16="http://schemas.microsoft.com/office/drawing/2014/main" id="{5F299FC0-AAD1-7343-8579-38DC0BDBF9BC}"/>
              </a:ext>
            </a:extLst>
          </p:cNvPr>
          <p:cNvSpPr/>
          <p:nvPr/>
        </p:nvSpPr>
        <p:spPr>
          <a:xfrm rot="10800000">
            <a:off x="0" y="5937437"/>
            <a:ext cx="12191999" cy="89717"/>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1" name="Rectangle 40">
            <a:extLst>
              <a:ext uri="{FF2B5EF4-FFF2-40B4-BE49-F238E27FC236}">
                <a16:creationId xmlns:a16="http://schemas.microsoft.com/office/drawing/2014/main" id="{C09E0511-A151-974D-AAB6-606FD5B80097}"/>
              </a:ext>
            </a:extLst>
          </p:cNvPr>
          <p:cNvSpPr/>
          <p:nvPr/>
        </p:nvSpPr>
        <p:spPr>
          <a:xfrm rot="10800000">
            <a:off x="0" y="6064209"/>
            <a:ext cx="12191999" cy="77661"/>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2" name="Rectangle 41">
            <a:extLst>
              <a:ext uri="{FF2B5EF4-FFF2-40B4-BE49-F238E27FC236}">
                <a16:creationId xmlns:a16="http://schemas.microsoft.com/office/drawing/2014/main" id="{BD764622-0D40-D146-BBDD-08BA5DD7D10E}"/>
              </a:ext>
            </a:extLst>
          </p:cNvPr>
          <p:cNvSpPr/>
          <p:nvPr/>
        </p:nvSpPr>
        <p:spPr>
          <a:xfrm rot="10800000">
            <a:off x="0" y="6190372"/>
            <a:ext cx="12191999" cy="68315"/>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3" name="Rectangle 42">
            <a:extLst>
              <a:ext uri="{FF2B5EF4-FFF2-40B4-BE49-F238E27FC236}">
                <a16:creationId xmlns:a16="http://schemas.microsoft.com/office/drawing/2014/main" id="{71C3CB51-ADD0-E445-B752-A449EAD7CB47}"/>
              </a:ext>
            </a:extLst>
          </p:cNvPr>
          <p:cNvSpPr/>
          <p:nvPr/>
        </p:nvSpPr>
        <p:spPr>
          <a:xfrm rot="10800000">
            <a:off x="0" y="6316536"/>
            <a:ext cx="12191999" cy="56633"/>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4" name="Rectangle 43">
            <a:extLst>
              <a:ext uri="{FF2B5EF4-FFF2-40B4-BE49-F238E27FC236}">
                <a16:creationId xmlns:a16="http://schemas.microsoft.com/office/drawing/2014/main" id="{6397851A-16D1-E943-BFD3-84DFAAA8043E}"/>
              </a:ext>
            </a:extLst>
          </p:cNvPr>
          <p:cNvSpPr/>
          <p:nvPr/>
        </p:nvSpPr>
        <p:spPr>
          <a:xfrm rot="10800000">
            <a:off x="0" y="6445036"/>
            <a:ext cx="12191999" cy="44952"/>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5" name="Rectangle 44">
            <a:extLst>
              <a:ext uri="{FF2B5EF4-FFF2-40B4-BE49-F238E27FC236}">
                <a16:creationId xmlns:a16="http://schemas.microsoft.com/office/drawing/2014/main" id="{A85DB0E9-BCE7-1349-B949-3380D78E2247}"/>
              </a:ext>
            </a:extLst>
          </p:cNvPr>
          <p:cNvSpPr/>
          <p:nvPr/>
        </p:nvSpPr>
        <p:spPr>
          <a:xfrm rot="10800000">
            <a:off x="0" y="6574705"/>
            <a:ext cx="12191999" cy="34438"/>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6" name="Rectangle 45">
            <a:extLst>
              <a:ext uri="{FF2B5EF4-FFF2-40B4-BE49-F238E27FC236}">
                <a16:creationId xmlns:a16="http://schemas.microsoft.com/office/drawing/2014/main" id="{3B55D9A8-5161-2E4C-BF56-29A745113B4E}"/>
              </a:ext>
            </a:extLst>
          </p:cNvPr>
          <p:cNvSpPr/>
          <p:nvPr/>
        </p:nvSpPr>
        <p:spPr>
          <a:xfrm>
            <a:off x="0" y="5823843"/>
            <a:ext cx="12191999" cy="77661"/>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7" name="Rectangle 46">
            <a:extLst>
              <a:ext uri="{FF2B5EF4-FFF2-40B4-BE49-F238E27FC236}">
                <a16:creationId xmlns:a16="http://schemas.microsoft.com/office/drawing/2014/main" id="{392AAC9F-5A61-FE40-AD32-087CC800D4C7}"/>
              </a:ext>
            </a:extLst>
          </p:cNvPr>
          <p:cNvSpPr/>
          <p:nvPr/>
        </p:nvSpPr>
        <p:spPr>
          <a:xfrm>
            <a:off x="0" y="5707024"/>
            <a:ext cx="12191999" cy="68315"/>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8" name="Rectangle 47">
            <a:extLst>
              <a:ext uri="{FF2B5EF4-FFF2-40B4-BE49-F238E27FC236}">
                <a16:creationId xmlns:a16="http://schemas.microsoft.com/office/drawing/2014/main" id="{DB89EDEA-A6BE-014C-B5CB-01CF8EB76B67}"/>
              </a:ext>
            </a:extLst>
          </p:cNvPr>
          <p:cNvSpPr/>
          <p:nvPr/>
        </p:nvSpPr>
        <p:spPr>
          <a:xfrm>
            <a:off x="0" y="5592543"/>
            <a:ext cx="12191999" cy="56633"/>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9" name="Rectangle 48">
            <a:extLst>
              <a:ext uri="{FF2B5EF4-FFF2-40B4-BE49-F238E27FC236}">
                <a16:creationId xmlns:a16="http://schemas.microsoft.com/office/drawing/2014/main" id="{DBC63857-177B-2546-A9AE-CA990A92BDDB}"/>
              </a:ext>
            </a:extLst>
          </p:cNvPr>
          <p:cNvSpPr/>
          <p:nvPr/>
        </p:nvSpPr>
        <p:spPr>
          <a:xfrm>
            <a:off x="0" y="5475724"/>
            <a:ext cx="12191999" cy="44952"/>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0" name="Rectangle 49">
            <a:extLst>
              <a:ext uri="{FF2B5EF4-FFF2-40B4-BE49-F238E27FC236}">
                <a16:creationId xmlns:a16="http://schemas.microsoft.com/office/drawing/2014/main" id="{448327A6-CC73-654B-9FB7-834BCF6E22E0}"/>
              </a:ext>
            </a:extLst>
          </p:cNvPr>
          <p:cNvSpPr/>
          <p:nvPr/>
        </p:nvSpPr>
        <p:spPr>
          <a:xfrm>
            <a:off x="0" y="5356569"/>
            <a:ext cx="12191999" cy="34438"/>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1" name="Rectangle 50">
            <a:extLst>
              <a:ext uri="{FF2B5EF4-FFF2-40B4-BE49-F238E27FC236}">
                <a16:creationId xmlns:a16="http://schemas.microsoft.com/office/drawing/2014/main" id="{433B0057-AE53-4744-8ADC-82679BFB37B8}"/>
              </a:ext>
            </a:extLst>
          </p:cNvPr>
          <p:cNvSpPr/>
          <p:nvPr/>
        </p:nvSpPr>
        <p:spPr>
          <a:xfrm>
            <a:off x="0" y="5236247"/>
            <a:ext cx="12191999" cy="23924"/>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2" name="Rectangle 51">
            <a:extLst>
              <a:ext uri="{FF2B5EF4-FFF2-40B4-BE49-F238E27FC236}">
                <a16:creationId xmlns:a16="http://schemas.microsoft.com/office/drawing/2014/main" id="{79692720-BEA9-4A46-8FD4-2156B5CDA5FE}"/>
              </a:ext>
            </a:extLst>
          </p:cNvPr>
          <p:cNvSpPr/>
          <p:nvPr/>
        </p:nvSpPr>
        <p:spPr>
          <a:xfrm rot="10800000">
            <a:off x="0" y="4469877"/>
            <a:ext cx="12191999" cy="89717"/>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3" name="Rectangle 52">
            <a:extLst>
              <a:ext uri="{FF2B5EF4-FFF2-40B4-BE49-F238E27FC236}">
                <a16:creationId xmlns:a16="http://schemas.microsoft.com/office/drawing/2014/main" id="{F321B62A-B1E1-6042-9614-A231B127BB7B}"/>
              </a:ext>
            </a:extLst>
          </p:cNvPr>
          <p:cNvSpPr/>
          <p:nvPr/>
        </p:nvSpPr>
        <p:spPr>
          <a:xfrm rot="10800000">
            <a:off x="0" y="4596649"/>
            <a:ext cx="12191999" cy="77661"/>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4" name="Rectangle 53">
            <a:extLst>
              <a:ext uri="{FF2B5EF4-FFF2-40B4-BE49-F238E27FC236}">
                <a16:creationId xmlns:a16="http://schemas.microsoft.com/office/drawing/2014/main" id="{724E83A6-3563-374F-9004-8C4B8D05CE0A}"/>
              </a:ext>
            </a:extLst>
          </p:cNvPr>
          <p:cNvSpPr/>
          <p:nvPr/>
        </p:nvSpPr>
        <p:spPr>
          <a:xfrm rot="10800000">
            <a:off x="0" y="4722812"/>
            <a:ext cx="12191999" cy="68315"/>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5" name="Rectangle 54">
            <a:extLst>
              <a:ext uri="{FF2B5EF4-FFF2-40B4-BE49-F238E27FC236}">
                <a16:creationId xmlns:a16="http://schemas.microsoft.com/office/drawing/2014/main" id="{5C807D6D-FA01-0E4C-A45E-7C253957097D}"/>
              </a:ext>
            </a:extLst>
          </p:cNvPr>
          <p:cNvSpPr/>
          <p:nvPr/>
        </p:nvSpPr>
        <p:spPr>
          <a:xfrm rot="10800000">
            <a:off x="0" y="4848976"/>
            <a:ext cx="12191999" cy="56633"/>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6" name="Rectangle 55">
            <a:extLst>
              <a:ext uri="{FF2B5EF4-FFF2-40B4-BE49-F238E27FC236}">
                <a16:creationId xmlns:a16="http://schemas.microsoft.com/office/drawing/2014/main" id="{BB1152E5-0176-D04B-B917-38762EBC7AE7}"/>
              </a:ext>
            </a:extLst>
          </p:cNvPr>
          <p:cNvSpPr/>
          <p:nvPr/>
        </p:nvSpPr>
        <p:spPr>
          <a:xfrm rot="10800000">
            <a:off x="0" y="4977476"/>
            <a:ext cx="12191999" cy="44952"/>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7" name="Rectangle 56">
            <a:extLst>
              <a:ext uri="{FF2B5EF4-FFF2-40B4-BE49-F238E27FC236}">
                <a16:creationId xmlns:a16="http://schemas.microsoft.com/office/drawing/2014/main" id="{5599B651-B64E-E14A-AAF1-4451F1E0D8FD}"/>
              </a:ext>
            </a:extLst>
          </p:cNvPr>
          <p:cNvSpPr/>
          <p:nvPr/>
        </p:nvSpPr>
        <p:spPr>
          <a:xfrm rot="10800000">
            <a:off x="0" y="5107144"/>
            <a:ext cx="12191999" cy="34438"/>
          </a:xfrm>
          <a:prstGeom prst="rect">
            <a:avLst/>
          </a:prstGeom>
          <a:solidFill>
            <a:srgbClr val="45A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8" name="L-Shape 57">
            <a:extLst>
              <a:ext uri="{FF2B5EF4-FFF2-40B4-BE49-F238E27FC236}">
                <a16:creationId xmlns:a16="http://schemas.microsoft.com/office/drawing/2014/main" id="{822F0A5E-64B0-7F4E-9BCA-CB63C0F6FD52}"/>
              </a:ext>
            </a:extLst>
          </p:cNvPr>
          <p:cNvSpPr/>
          <p:nvPr userDrawn="1"/>
        </p:nvSpPr>
        <p:spPr>
          <a:xfrm rot="13500000">
            <a:off x="1377398" y="2804684"/>
            <a:ext cx="1800000" cy="1800000"/>
          </a:xfrm>
          <a:prstGeom prst="corner">
            <a:avLst>
              <a:gd name="adj1" fmla="val 20121"/>
              <a:gd name="adj2" fmla="val 20273"/>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33">
              <a:solidFill>
                <a:schemeClr val="tx1"/>
              </a:solidFill>
            </a:endParaRPr>
          </a:p>
        </p:txBody>
      </p:sp>
    </p:spTree>
    <p:extLst>
      <p:ext uri="{BB962C8B-B14F-4D97-AF65-F5344CB8AC3E}">
        <p14:creationId xmlns:p14="http://schemas.microsoft.com/office/powerpoint/2010/main" val="2771962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b="16845"/>
          <a:stretch/>
        </p:blipFill>
        <p:spPr>
          <a:xfrm>
            <a:off x="23053" y="1535373"/>
            <a:ext cx="12168947" cy="5322627"/>
          </a:xfrm>
          <a:prstGeom prst="rect">
            <a:avLst/>
          </a:prstGeom>
        </p:spPr>
      </p:pic>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6A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a:prstGeom prst="rect">
            <a:avLst/>
          </a:prstGeo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23756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38200" y="6131286"/>
            <a:ext cx="2743200" cy="365125"/>
          </a:xfrm>
          <a:prstGeom prst="rect">
            <a:avLst/>
          </a:prstGeom>
        </p:spPr>
        <p:txBody>
          <a:bodyPr>
            <a:noAutofit/>
          </a:bodyPr>
          <a:lstStyle/>
          <a:p>
            <a:fld id="{F46C79FD-C571-418B-AB0F-5EE936C85276}" type="slidenum">
              <a:rPr lang="en-GB" smtClean="0"/>
              <a:pPr/>
              <a:t>‹N°›</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rgbClr val="6AB5AC"/>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a:prstGeom prst="rect">
            <a:avLst/>
          </a:prstGeo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557903"/>
            <a:ext cx="5040313" cy="528998"/>
          </a:xfrm>
          <a:prstGeom prst="rect">
            <a:avLst/>
          </a:prstGeom>
        </p:spPr>
        <p:txBody>
          <a:bodyPr>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6775206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rgbClr val="6A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a:xfrm>
            <a:off x="838200" y="6131286"/>
            <a:ext cx="2743200" cy="365125"/>
          </a:xfrm>
          <a:prstGeom prst="rect">
            <a:avLst/>
          </a:prstGeom>
        </p:spPr>
        <p:txBody>
          <a:bodyPr>
            <a:noAutofit/>
          </a:bodyPr>
          <a:lstStyle/>
          <a:p>
            <a:fld id="{F46C79FD-C571-418B-AB0F-5EE936C85276}" type="slidenum">
              <a:rPr lang="en-GB" smtClean="0"/>
              <a:pPr/>
              <a:t>‹N°›</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accent5"/>
                </a:solidFill>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a:prstGeom prst="rect">
            <a:avLst/>
          </a:prstGeo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6255577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9" name="Rectangle 5"/>
          <p:cNvSpPr/>
          <p:nvPr/>
        </p:nvSpPr>
        <p:spPr>
          <a:xfrm rot="10800000">
            <a:off x="-94759" y="27772"/>
            <a:ext cx="12344400" cy="2841552"/>
          </a:xfrm>
          <a:custGeom>
            <a:avLst/>
            <a:gdLst>
              <a:gd name="connsiteX0" fmla="*/ 0 w 12203141"/>
              <a:gd name="connsiteY0" fmla="*/ 0 h 5054600"/>
              <a:gd name="connsiteX1" fmla="*/ 12203141 w 12203141"/>
              <a:gd name="connsiteY1" fmla="*/ 0 h 5054600"/>
              <a:gd name="connsiteX2" fmla="*/ 12203141 w 12203141"/>
              <a:gd name="connsiteY2" fmla="*/ 5054600 h 5054600"/>
              <a:gd name="connsiteX3" fmla="*/ 0 w 12203141"/>
              <a:gd name="connsiteY3" fmla="*/ 5054600 h 5054600"/>
              <a:gd name="connsiteX4" fmla="*/ 0 w 12203141"/>
              <a:gd name="connsiteY4" fmla="*/ 0 h 5054600"/>
              <a:gd name="connsiteX0" fmla="*/ 0 w 12203141"/>
              <a:gd name="connsiteY0" fmla="*/ 0 h 5054600"/>
              <a:gd name="connsiteX1" fmla="*/ 12072512 w 12203141"/>
              <a:gd name="connsiteY1" fmla="*/ 1436914 h 5054600"/>
              <a:gd name="connsiteX2" fmla="*/ 12203141 w 12203141"/>
              <a:gd name="connsiteY2" fmla="*/ 5054600 h 5054600"/>
              <a:gd name="connsiteX3" fmla="*/ 0 w 12203141"/>
              <a:gd name="connsiteY3" fmla="*/ 5054600 h 5054600"/>
              <a:gd name="connsiteX4" fmla="*/ 0 w 12203141"/>
              <a:gd name="connsiteY4" fmla="*/ 0 h 5054600"/>
              <a:gd name="connsiteX0" fmla="*/ 0 w 12203141"/>
              <a:gd name="connsiteY0" fmla="*/ 0 h 5054600"/>
              <a:gd name="connsiteX1" fmla="*/ 12184480 w 12203141"/>
              <a:gd name="connsiteY1" fmla="*/ 1026367 h 5054600"/>
              <a:gd name="connsiteX2" fmla="*/ 12203141 w 12203141"/>
              <a:gd name="connsiteY2" fmla="*/ 5054600 h 5054600"/>
              <a:gd name="connsiteX3" fmla="*/ 0 w 12203141"/>
              <a:gd name="connsiteY3" fmla="*/ 5054600 h 5054600"/>
              <a:gd name="connsiteX4" fmla="*/ 0 w 12203141"/>
              <a:gd name="connsiteY4" fmla="*/ 0 h 50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41" h="5054600">
                <a:moveTo>
                  <a:pt x="0" y="0"/>
                </a:moveTo>
                <a:lnTo>
                  <a:pt x="12184480" y="1026367"/>
                </a:lnTo>
                <a:cubicBezTo>
                  <a:pt x="12190700" y="2369111"/>
                  <a:pt x="12196921" y="3711856"/>
                  <a:pt x="12203141" y="5054600"/>
                </a:cubicBezTo>
                <a:lnTo>
                  <a:pt x="0" y="5054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rot="10800000">
            <a:off x="-17508" y="2075201"/>
            <a:ext cx="12203141" cy="794124"/>
          </a:xfrm>
          <a:custGeom>
            <a:avLst/>
            <a:gdLst>
              <a:gd name="connsiteX0" fmla="*/ 0 w 12203141"/>
              <a:gd name="connsiteY0" fmla="*/ 0 h 1425645"/>
              <a:gd name="connsiteX1" fmla="*/ 12203141 w 12203141"/>
              <a:gd name="connsiteY1" fmla="*/ 1025595 h 1425645"/>
              <a:gd name="connsiteX2" fmla="*/ 12203141 w 12203141"/>
              <a:gd name="connsiteY2" fmla="*/ 1425645 h 1425645"/>
              <a:gd name="connsiteX3" fmla="*/ 1615 w 12203141"/>
              <a:gd name="connsiteY3" fmla="*/ 96907 h 1425645"/>
              <a:gd name="connsiteX4" fmla="*/ 0 w 12203141"/>
              <a:gd name="connsiteY4" fmla="*/ 0 h 1425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41" h="1425645">
                <a:moveTo>
                  <a:pt x="0" y="0"/>
                </a:moveTo>
                <a:lnTo>
                  <a:pt x="12203141" y="1025595"/>
                </a:lnTo>
                <a:lnTo>
                  <a:pt x="12203141" y="1425645"/>
                </a:lnTo>
                <a:lnTo>
                  <a:pt x="1615" y="96907"/>
                </a:lnTo>
                <a:cubicBezTo>
                  <a:pt x="2259" y="73738"/>
                  <a:pt x="2902" y="50569"/>
                  <a:pt x="0" y="0"/>
                </a:cubicBezTo>
                <a:close/>
              </a:path>
            </a:pathLst>
          </a:custGeom>
          <a:solidFill>
            <a:srgbClr val="6A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1CD3F"/>
              </a:solidFill>
            </a:endParaRPr>
          </a:p>
        </p:txBody>
      </p:sp>
      <p:cxnSp>
        <p:nvCxnSpPr>
          <p:cNvPr id="13" name="Straight Connector 12"/>
          <p:cNvCxnSpPr/>
          <p:nvPr userDrawn="1"/>
        </p:nvCxnSpPr>
        <p:spPr>
          <a:xfrm flipH="1">
            <a:off x="805912" y="0"/>
            <a:ext cx="32288" cy="20752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1478636"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userDrawn="1"/>
        </p:nvGrpSpPr>
        <p:grpSpPr>
          <a:xfrm>
            <a:off x="3242441" y="3037837"/>
            <a:ext cx="679276" cy="128324"/>
            <a:chOff x="1689100" y="5142176"/>
            <a:chExt cx="679276" cy="128324"/>
          </a:xfrm>
        </p:grpSpPr>
        <p:sp>
          <p:nvSpPr>
            <p:cNvPr id="18" name="Oval 17"/>
            <p:cNvSpPr/>
            <p:nvPr/>
          </p:nvSpPr>
          <p:spPr>
            <a:xfrm>
              <a:off x="1689100"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2057284"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2241376"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1873192" y="5142176"/>
              <a:ext cx="127000" cy="1270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Rectangle 21"/>
          <p:cNvSpPr/>
          <p:nvPr userDrawn="1"/>
        </p:nvSpPr>
        <p:spPr>
          <a:xfrm>
            <a:off x="4437620"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p:cNvGrpSpPr/>
          <p:nvPr userDrawn="1"/>
        </p:nvGrpSpPr>
        <p:grpSpPr>
          <a:xfrm>
            <a:off x="6201425" y="3037837"/>
            <a:ext cx="679276" cy="128324"/>
            <a:chOff x="1689100" y="5142176"/>
            <a:chExt cx="679276" cy="128324"/>
          </a:xfrm>
        </p:grpSpPr>
        <p:sp>
          <p:nvSpPr>
            <p:cNvPr id="26" name="Oval 25"/>
            <p:cNvSpPr/>
            <p:nvPr/>
          </p:nvSpPr>
          <p:spPr>
            <a:xfrm>
              <a:off x="1689100"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2057284"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p:nvSpPr>
          <p:spPr>
            <a:xfrm>
              <a:off x="2241376"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1873192" y="5142176"/>
              <a:ext cx="127000" cy="1270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Rectangle 29"/>
          <p:cNvSpPr/>
          <p:nvPr userDrawn="1"/>
        </p:nvSpPr>
        <p:spPr>
          <a:xfrm>
            <a:off x="7396604"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p:cNvGrpSpPr/>
          <p:nvPr userDrawn="1"/>
        </p:nvGrpSpPr>
        <p:grpSpPr>
          <a:xfrm>
            <a:off x="9160409" y="3037837"/>
            <a:ext cx="679276" cy="128324"/>
            <a:chOff x="1689100" y="5142176"/>
            <a:chExt cx="679276" cy="128324"/>
          </a:xfrm>
        </p:grpSpPr>
        <p:sp>
          <p:nvSpPr>
            <p:cNvPr id="34" name="Oval 33"/>
            <p:cNvSpPr/>
            <p:nvPr/>
          </p:nvSpPr>
          <p:spPr>
            <a:xfrm>
              <a:off x="1689100"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2057284"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2241376"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1873192" y="5142176"/>
              <a:ext cx="127000" cy="1270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itle 1"/>
          <p:cNvSpPr>
            <a:spLocks noGrp="1"/>
          </p:cNvSpPr>
          <p:nvPr>
            <p:ph type="ctrTitle"/>
          </p:nvPr>
        </p:nvSpPr>
        <p:spPr>
          <a:xfrm>
            <a:off x="1057670" y="591069"/>
            <a:ext cx="10414510" cy="1161333"/>
          </a:xfrm>
        </p:spPr>
        <p:txBody>
          <a:bodyPr wrap="none" anchor="t">
            <a:noAutofit/>
          </a:bodyPr>
          <a:lstStyle>
            <a:lvl1pPr algn="l">
              <a:defRPr sz="6000" b="0">
                <a:solidFill>
                  <a:srgbClr val="6AB5AC"/>
                </a:solidFill>
              </a:defRPr>
            </a:lvl1pPr>
          </a:lstStyle>
          <a:p>
            <a:r>
              <a:rPr lang="en-US"/>
              <a:t>Click to edit Master title style</a:t>
            </a:r>
            <a:endParaRPr lang="en-GB"/>
          </a:p>
        </p:txBody>
      </p:sp>
      <p:sp>
        <p:nvSpPr>
          <p:cNvPr id="40" name="Text Placeholder 6"/>
          <p:cNvSpPr>
            <a:spLocks noGrp="1"/>
          </p:cNvSpPr>
          <p:nvPr>
            <p:ph type="body" sz="quarter" idx="10"/>
          </p:nvPr>
        </p:nvSpPr>
        <p:spPr>
          <a:xfrm>
            <a:off x="1697273" y="3521398"/>
            <a:ext cx="2280525" cy="2362166"/>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
        <p:nvSpPr>
          <p:cNvPr id="41" name="Text Placeholder 6"/>
          <p:cNvSpPr>
            <a:spLocks noGrp="1"/>
          </p:cNvSpPr>
          <p:nvPr>
            <p:ph type="body" sz="quarter" idx="11"/>
          </p:nvPr>
        </p:nvSpPr>
        <p:spPr>
          <a:xfrm>
            <a:off x="4656257" y="3521398"/>
            <a:ext cx="2280525" cy="2362165"/>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
        <p:nvSpPr>
          <p:cNvPr id="42" name="Text Placeholder 6"/>
          <p:cNvSpPr>
            <a:spLocks noGrp="1"/>
          </p:cNvSpPr>
          <p:nvPr>
            <p:ph type="body" sz="quarter" idx="12"/>
          </p:nvPr>
        </p:nvSpPr>
        <p:spPr>
          <a:xfrm>
            <a:off x="7615241" y="3521398"/>
            <a:ext cx="2280525" cy="2362165"/>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Tree>
    <p:extLst>
      <p:ext uri="{BB962C8B-B14F-4D97-AF65-F5344CB8AC3E}">
        <p14:creationId xmlns:p14="http://schemas.microsoft.com/office/powerpoint/2010/main" val="36033183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Last slide (option 1)">
    <p:spTree>
      <p:nvGrpSpPr>
        <p:cNvPr id="1" name=""/>
        <p:cNvGrpSpPr/>
        <p:nvPr/>
      </p:nvGrpSpPr>
      <p:grpSpPr>
        <a:xfrm>
          <a:off x="0" y="0"/>
          <a:ext cx="0" cy="0"/>
          <a:chOff x="0" y="0"/>
          <a:chExt cx="0" cy="0"/>
        </a:xfrm>
      </p:grpSpPr>
      <p:sp>
        <p:nvSpPr>
          <p:cNvPr id="9" name="Rectangle 5"/>
          <p:cNvSpPr/>
          <p:nvPr/>
        </p:nvSpPr>
        <p:spPr>
          <a:xfrm rot="10800000">
            <a:off x="-94759" y="27772"/>
            <a:ext cx="12344400" cy="6830228"/>
          </a:xfrm>
          <a:custGeom>
            <a:avLst/>
            <a:gdLst>
              <a:gd name="connsiteX0" fmla="*/ 0 w 12203141"/>
              <a:gd name="connsiteY0" fmla="*/ 0 h 5054600"/>
              <a:gd name="connsiteX1" fmla="*/ 12203141 w 12203141"/>
              <a:gd name="connsiteY1" fmla="*/ 0 h 5054600"/>
              <a:gd name="connsiteX2" fmla="*/ 12203141 w 12203141"/>
              <a:gd name="connsiteY2" fmla="*/ 5054600 h 5054600"/>
              <a:gd name="connsiteX3" fmla="*/ 0 w 12203141"/>
              <a:gd name="connsiteY3" fmla="*/ 5054600 h 5054600"/>
              <a:gd name="connsiteX4" fmla="*/ 0 w 12203141"/>
              <a:gd name="connsiteY4" fmla="*/ 0 h 5054600"/>
              <a:gd name="connsiteX0" fmla="*/ 0 w 12203141"/>
              <a:gd name="connsiteY0" fmla="*/ 0 h 5054600"/>
              <a:gd name="connsiteX1" fmla="*/ 12072512 w 12203141"/>
              <a:gd name="connsiteY1" fmla="*/ 1436914 h 5054600"/>
              <a:gd name="connsiteX2" fmla="*/ 12203141 w 12203141"/>
              <a:gd name="connsiteY2" fmla="*/ 5054600 h 5054600"/>
              <a:gd name="connsiteX3" fmla="*/ 0 w 12203141"/>
              <a:gd name="connsiteY3" fmla="*/ 5054600 h 5054600"/>
              <a:gd name="connsiteX4" fmla="*/ 0 w 12203141"/>
              <a:gd name="connsiteY4" fmla="*/ 0 h 5054600"/>
              <a:gd name="connsiteX0" fmla="*/ 0 w 12203141"/>
              <a:gd name="connsiteY0" fmla="*/ 0 h 5054600"/>
              <a:gd name="connsiteX1" fmla="*/ 12184480 w 12203141"/>
              <a:gd name="connsiteY1" fmla="*/ 1026367 h 5054600"/>
              <a:gd name="connsiteX2" fmla="*/ 12203141 w 12203141"/>
              <a:gd name="connsiteY2" fmla="*/ 5054600 h 5054600"/>
              <a:gd name="connsiteX3" fmla="*/ 0 w 12203141"/>
              <a:gd name="connsiteY3" fmla="*/ 5054600 h 5054600"/>
              <a:gd name="connsiteX4" fmla="*/ 0 w 12203141"/>
              <a:gd name="connsiteY4" fmla="*/ 0 h 50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41" h="5054600">
                <a:moveTo>
                  <a:pt x="0" y="0"/>
                </a:moveTo>
                <a:lnTo>
                  <a:pt x="12184480" y="1026367"/>
                </a:lnTo>
                <a:cubicBezTo>
                  <a:pt x="12190700" y="2369111"/>
                  <a:pt x="12196921" y="3711856"/>
                  <a:pt x="12203141" y="5054600"/>
                </a:cubicBezTo>
                <a:lnTo>
                  <a:pt x="0" y="5054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rot="10800000">
            <a:off x="-94759" y="2075201"/>
            <a:ext cx="12344400" cy="794124"/>
          </a:xfrm>
          <a:custGeom>
            <a:avLst/>
            <a:gdLst>
              <a:gd name="connsiteX0" fmla="*/ 0 w 12203141"/>
              <a:gd name="connsiteY0" fmla="*/ 0 h 1425645"/>
              <a:gd name="connsiteX1" fmla="*/ 12203141 w 12203141"/>
              <a:gd name="connsiteY1" fmla="*/ 1025595 h 1425645"/>
              <a:gd name="connsiteX2" fmla="*/ 12203141 w 12203141"/>
              <a:gd name="connsiteY2" fmla="*/ 1425645 h 1425645"/>
              <a:gd name="connsiteX3" fmla="*/ 1615 w 12203141"/>
              <a:gd name="connsiteY3" fmla="*/ 96907 h 1425645"/>
              <a:gd name="connsiteX4" fmla="*/ 0 w 12203141"/>
              <a:gd name="connsiteY4" fmla="*/ 0 h 1425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41" h="1425645">
                <a:moveTo>
                  <a:pt x="0" y="0"/>
                </a:moveTo>
                <a:lnTo>
                  <a:pt x="12203141" y="1025595"/>
                </a:lnTo>
                <a:lnTo>
                  <a:pt x="12203141" y="1425645"/>
                </a:lnTo>
                <a:lnTo>
                  <a:pt x="1615" y="96907"/>
                </a:lnTo>
                <a:cubicBezTo>
                  <a:pt x="2259" y="73738"/>
                  <a:pt x="2902" y="50569"/>
                  <a:pt x="0" y="0"/>
                </a:cubicBezTo>
                <a:close/>
              </a:path>
            </a:pathLst>
          </a:custGeom>
          <a:solidFill>
            <a:srgbClr val="6A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1CD3F"/>
              </a:solidFill>
            </a:endParaRPr>
          </a:p>
        </p:txBody>
      </p:sp>
      <p:cxnSp>
        <p:nvCxnSpPr>
          <p:cNvPr id="13" name="Straight Connector 12"/>
          <p:cNvCxnSpPr/>
          <p:nvPr userDrawn="1"/>
        </p:nvCxnSpPr>
        <p:spPr>
          <a:xfrm flipH="1">
            <a:off x="805912" y="0"/>
            <a:ext cx="32288" cy="20752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1478636"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userDrawn="1"/>
        </p:nvSpPr>
        <p:spPr>
          <a:xfrm>
            <a:off x="4437620"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7396604"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itle 1"/>
          <p:cNvSpPr>
            <a:spLocks noGrp="1"/>
          </p:cNvSpPr>
          <p:nvPr>
            <p:ph type="ctrTitle"/>
          </p:nvPr>
        </p:nvSpPr>
        <p:spPr>
          <a:xfrm>
            <a:off x="1057670" y="591069"/>
            <a:ext cx="10414510" cy="1161333"/>
          </a:xfrm>
        </p:spPr>
        <p:txBody>
          <a:bodyPr wrap="none" anchor="t">
            <a:noAutofit/>
          </a:bodyPr>
          <a:lstStyle>
            <a:lvl1pPr algn="l">
              <a:defRPr sz="6000" b="0">
                <a:solidFill>
                  <a:srgbClr val="6AB5AC"/>
                </a:solidFill>
              </a:defRPr>
            </a:lvl1pPr>
          </a:lstStyle>
          <a:p>
            <a:r>
              <a:rPr lang="en-US"/>
              <a:t>Click to edit Master title style</a:t>
            </a:r>
            <a:endParaRPr lang="en-GB"/>
          </a:p>
        </p:txBody>
      </p:sp>
      <p:sp>
        <p:nvSpPr>
          <p:cNvPr id="38" name="TextBox 37"/>
          <p:cNvSpPr txBox="1"/>
          <p:nvPr userDrawn="1"/>
        </p:nvSpPr>
        <p:spPr>
          <a:xfrm>
            <a:off x="-118668" y="2136303"/>
            <a:ext cx="3096126" cy="1446550"/>
          </a:xfrm>
          <a:prstGeom prst="rect">
            <a:avLst/>
          </a:prstGeom>
          <a:noFill/>
        </p:spPr>
        <p:txBody>
          <a:bodyPr wrap="square" rtlCol="0">
            <a:spAutoFit/>
          </a:bodyPr>
          <a:lstStyle/>
          <a:p>
            <a:pPr algn="ctr"/>
            <a:r>
              <a:rPr lang="en-US" sz="8800" b="1">
                <a:solidFill>
                  <a:schemeClr val="accent1">
                    <a:lumMod val="20000"/>
                    <a:lumOff val="80000"/>
                  </a:schemeClr>
                </a:solidFill>
                <a:latin typeface="Montserrat" charset="0"/>
                <a:ea typeface="Montserrat" charset="0"/>
                <a:cs typeface="Montserrat" charset="0"/>
              </a:rPr>
              <a:t>01</a:t>
            </a:r>
          </a:p>
        </p:txBody>
      </p:sp>
      <p:sp>
        <p:nvSpPr>
          <p:cNvPr id="40" name="TextBox 39"/>
          <p:cNvSpPr txBox="1"/>
          <p:nvPr userDrawn="1"/>
        </p:nvSpPr>
        <p:spPr>
          <a:xfrm>
            <a:off x="2889557" y="2136303"/>
            <a:ext cx="3096126" cy="1446550"/>
          </a:xfrm>
          <a:prstGeom prst="rect">
            <a:avLst/>
          </a:prstGeom>
          <a:noFill/>
        </p:spPr>
        <p:txBody>
          <a:bodyPr wrap="square" rtlCol="0">
            <a:spAutoFit/>
          </a:bodyPr>
          <a:lstStyle/>
          <a:p>
            <a:pPr algn="ctr"/>
            <a:r>
              <a:rPr lang="en-US" sz="8800" b="1">
                <a:solidFill>
                  <a:schemeClr val="accent1">
                    <a:lumMod val="20000"/>
                    <a:lumOff val="80000"/>
                  </a:schemeClr>
                </a:solidFill>
                <a:latin typeface="Montserrat" charset="0"/>
                <a:ea typeface="Montserrat" charset="0"/>
                <a:cs typeface="Montserrat" charset="0"/>
              </a:rPr>
              <a:t>02</a:t>
            </a:r>
          </a:p>
        </p:txBody>
      </p:sp>
      <p:sp>
        <p:nvSpPr>
          <p:cNvPr id="42" name="TextBox 41"/>
          <p:cNvSpPr txBox="1"/>
          <p:nvPr userDrawn="1"/>
        </p:nvSpPr>
        <p:spPr>
          <a:xfrm>
            <a:off x="5848541" y="2136303"/>
            <a:ext cx="3096126" cy="1446550"/>
          </a:xfrm>
          <a:prstGeom prst="rect">
            <a:avLst/>
          </a:prstGeom>
          <a:noFill/>
        </p:spPr>
        <p:txBody>
          <a:bodyPr wrap="square" rtlCol="0">
            <a:spAutoFit/>
          </a:bodyPr>
          <a:lstStyle/>
          <a:p>
            <a:pPr algn="ctr"/>
            <a:r>
              <a:rPr lang="en-US" sz="8800" b="1">
                <a:solidFill>
                  <a:schemeClr val="accent1">
                    <a:lumMod val="20000"/>
                    <a:lumOff val="80000"/>
                  </a:schemeClr>
                </a:solidFill>
                <a:latin typeface="Montserrat" charset="0"/>
                <a:ea typeface="Montserrat" charset="0"/>
                <a:cs typeface="Montserrat" charset="0"/>
              </a:rPr>
              <a:t>03</a:t>
            </a:r>
          </a:p>
        </p:txBody>
      </p:sp>
      <p:sp>
        <p:nvSpPr>
          <p:cNvPr id="7" name="Text Placeholder 6"/>
          <p:cNvSpPr>
            <a:spLocks noGrp="1"/>
          </p:cNvSpPr>
          <p:nvPr>
            <p:ph type="body" sz="quarter" idx="10"/>
          </p:nvPr>
        </p:nvSpPr>
        <p:spPr>
          <a:xfrm>
            <a:off x="1664413" y="3643313"/>
            <a:ext cx="2280525" cy="2222500"/>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
        <p:nvSpPr>
          <p:cNvPr id="43" name="Text Placeholder 6"/>
          <p:cNvSpPr>
            <a:spLocks noGrp="1"/>
          </p:cNvSpPr>
          <p:nvPr>
            <p:ph type="body" sz="quarter" idx="11"/>
          </p:nvPr>
        </p:nvSpPr>
        <p:spPr>
          <a:xfrm>
            <a:off x="4656257" y="3643313"/>
            <a:ext cx="2280525" cy="2222500"/>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
        <p:nvSpPr>
          <p:cNvPr id="44" name="Text Placeholder 6"/>
          <p:cNvSpPr>
            <a:spLocks noGrp="1"/>
          </p:cNvSpPr>
          <p:nvPr>
            <p:ph type="body" sz="quarter" idx="12"/>
          </p:nvPr>
        </p:nvSpPr>
        <p:spPr>
          <a:xfrm>
            <a:off x="7615241" y="3643313"/>
            <a:ext cx="2280525" cy="2222500"/>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pic>
        <p:nvPicPr>
          <p:cNvPr id="45" name="Picture 4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16106135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a:prstGeom prst="rect">
            <a:avLst/>
          </a:prstGeo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a:xfrm>
            <a:off x="838200" y="6131286"/>
            <a:ext cx="2743200" cy="365125"/>
          </a:xfrm>
          <a:prstGeom prst="rect">
            <a:avLst/>
          </a:prstGeom>
        </p:spPr>
        <p:txBody>
          <a:bodyPr>
            <a:noAutofit/>
          </a:bodyPr>
          <a:lstStyle/>
          <a:p>
            <a:fld id="{F46C79FD-C571-418B-AB0F-5EE936C85276}" type="slidenum">
              <a:rPr lang="en-GB" smtClean="0"/>
              <a:pPr/>
              <a:t>‹N°›</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458714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a:prstGeom prst="rect">
            <a:avLst/>
          </a:prstGeo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a:prstGeom prst="rect">
            <a:avLst/>
          </a:prstGeom>
          <a:noFill/>
        </p:spPr>
        <p:txBody>
          <a:bodyPr>
            <a:noAutofit/>
          </a:bodyPr>
          <a:lstStyle>
            <a:lvl1pPr marL="0" indent="0">
              <a:buNone/>
              <a:defRPr/>
            </a:lvl1pPr>
          </a:lstStyle>
          <a:p>
            <a:pPr lvl="0"/>
            <a:r>
              <a:rPr lang="en-US"/>
              <a:t>Edit Master text styles</a:t>
            </a:r>
          </a:p>
        </p:txBody>
      </p:sp>
      <p:sp>
        <p:nvSpPr>
          <p:cNvPr id="7" name="Slide Number Placeholder 6"/>
          <p:cNvSpPr>
            <a:spLocks noGrp="1"/>
          </p:cNvSpPr>
          <p:nvPr>
            <p:ph type="sldNum" sz="quarter" idx="12"/>
          </p:nvPr>
        </p:nvSpPr>
        <p:spPr>
          <a:xfrm>
            <a:off x="838200" y="6131286"/>
            <a:ext cx="2743200" cy="365125"/>
          </a:xfrm>
          <a:prstGeom prst="rect">
            <a:avLst/>
          </a:prstGeom>
        </p:spPr>
        <p:txBody>
          <a:bodyPr>
            <a:noAutofit/>
          </a:bodyPr>
          <a:lstStyle/>
          <a:p>
            <a:fld id="{F46C79FD-C571-418B-AB0F-5EE936C85276}" type="slidenum">
              <a:rPr lang="en-GB" smtClean="0"/>
              <a:pPr/>
              <a:t>‹N°›</a:t>
            </a:fld>
            <a:endParaRPr lang="en-GB"/>
          </a:p>
        </p:txBody>
      </p:sp>
      <p:cxnSp>
        <p:nvCxnSpPr>
          <p:cNvPr id="9" name="Straight Connector 8"/>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4518402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a:prstGeom prst="rect">
            <a:avLst/>
          </a:prstGeo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097331"/>
          </a:xfrm>
          <a:prstGeom prst="rect">
            <a:avLst/>
          </a:pr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prstGeom prst="rect">
            <a:avLst/>
          </a:prstGeo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097331"/>
          </a:xfrm>
          <a:prstGeom prst="rect">
            <a:avLst/>
          </a:pr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a:xfrm>
            <a:off x="838200" y="6131286"/>
            <a:ext cx="2743200" cy="365125"/>
          </a:xfrm>
          <a:prstGeom prst="rect">
            <a:avLst/>
          </a:prstGeom>
        </p:spPr>
        <p:txBody>
          <a:bodyPr>
            <a:noAutofit/>
          </a:bodyPr>
          <a:lstStyle/>
          <a:p>
            <a:fld id="{F46C79FD-C571-418B-AB0F-5EE936C85276}" type="slidenum">
              <a:rPr lang="en-GB" smtClean="0"/>
              <a:pPr/>
              <a:t>‹N°›</a:t>
            </a:fld>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75573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6A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0" y="4294904"/>
            <a:ext cx="10065224" cy="1504533"/>
          </a:xfrm>
          <a:prstGeom prst="rect">
            <a:avLst/>
          </a:prstGeo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599272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38200" y="6131286"/>
            <a:ext cx="2743200" cy="365125"/>
          </a:xfrm>
          <a:prstGeom prst="rect">
            <a:avLst/>
          </a:prstGeom>
        </p:spPr>
        <p:txBody>
          <a:bodyPr/>
          <a:lstStyle/>
          <a:p>
            <a:fld id="{F46C79FD-C571-418B-AB0F-5EE936C85276}" type="slidenum">
              <a:rPr lang="en-GB" smtClean="0"/>
              <a:pPr/>
              <a:t>‹N°›</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3885194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prstGeom prst="rect">
            <a:avLst/>
          </a:prstGeo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838200" y="6131286"/>
            <a:ext cx="2743200" cy="365125"/>
          </a:xfrm>
          <a:prstGeom prst="rect">
            <a:avLst/>
          </a:prstGeom>
        </p:spPr>
        <p:txBody>
          <a:bodyPr/>
          <a:lstStyle/>
          <a:p>
            <a:fld id="{F46C79FD-C571-418B-AB0F-5EE936C85276}" type="slidenum">
              <a:rPr lang="en-GB" smtClean="0"/>
              <a:pPr/>
              <a:t>‹N°›</a:t>
            </a:fld>
            <a:endParaRPr lang="en-GB"/>
          </a:p>
        </p:txBody>
      </p:sp>
      <p:sp>
        <p:nvSpPr>
          <p:cNvPr id="6" name="Text Placeholder 5"/>
          <p:cNvSpPr>
            <a:spLocks noGrp="1"/>
          </p:cNvSpPr>
          <p:nvPr>
            <p:ph type="body" sz="quarter" idx="14"/>
          </p:nvPr>
        </p:nvSpPr>
        <p:spPr>
          <a:xfrm>
            <a:off x="838200" y="3630613"/>
            <a:ext cx="10515600" cy="2035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742212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38200" y="6131286"/>
            <a:ext cx="2743200" cy="365125"/>
          </a:xfrm>
          <a:prstGeom prst="rect">
            <a:avLst/>
          </a:prstGeom>
        </p:spPr>
        <p:txBody>
          <a:bodyPr/>
          <a:lstStyle/>
          <a:p>
            <a:fld id="{F46C79FD-C571-418B-AB0F-5EE936C85276}" type="slidenum">
              <a:rPr lang="en-GB" smtClean="0"/>
              <a:pPr/>
              <a:t>‹N°›</a:t>
            </a:fld>
            <a:endParaRPr lang="en-GB"/>
          </a:p>
        </p:txBody>
      </p:sp>
    </p:spTree>
    <p:extLst>
      <p:ext uri="{BB962C8B-B14F-4D97-AF65-F5344CB8AC3E}">
        <p14:creationId xmlns:p14="http://schemas.microsoft.com/office/powerpoint/2010/main" val="12334535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Full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365125"/>
            <a:ext cx="10820400" cy="1201191"/>
          </a:xfrm>
        </p:spPr>
        <p:txBody>
          <a:bodyPr>
            <a:noAutofit/>
          </a:bodyPr>
          <a:lstStyle/>
          <a:p>
            <a:r>
              <a:rPr lang="en-US"/>
              <a:t>Click to edit Master title style</a:t>
            </a:r>
          </a:p>
        </p:txBody>
      </p:sp>
      <p:sp>
        <p:nvSpPr>
          <p:cNvPr id="5" name="Content Placeholder 4"/>
          <p:cNvSpPr>
            <a:spLocks noGrp="1"/>
          </p:cNvSpPr>
          <p:nvPr>
            <p:ph sz="quarter" idx="11"/>
          </p:nvPr>
        </p:nvSpPr>
        <p:spPr>
          <a:xfrm>
            <a:off x="685271" y="1703296"/>
            <a:ext cx="10820400" cy="4265704"/>
          </a:xfrm>
        </p:spPr>
        <p:txBody>
          <a:bodyPr>
            <a:noAutofit/>
          </a:bodyPr>
          <a:lstStyle>
            <a:lvl1pPr marL="0" indent="0">
              <a:buNone/>
              <a:defRPr sz="2333" b="0" baseline="0"/>
            </a:lvl1pPr>
            <a:lvl2pPr marL="168268" indent="0">
              <a:buNone/>
              <a:defRPr sz="1667" baseline="0">
                <a:latin typeface="+mj-lt"/>
              </a:defRPr>
            </a:lvl2pPr>
            <a:lvl3pPr marL="400034" indent="0">
              <a:buNone/>
              <a:defRPr sz="1667" baseline="0">
                <a:latin typeface="+mj-lt"/>
              </a:defRPr>
            </a:lvl3pPr>
            <a:lvl4pPr marL="576240" indent="0">
              <a:buNone/>
              <a:defRPr sz="1833"/>
            </a:lvl4pPr>
            <a:lvl5pPr marL="741334" indent="0">
              <a:buNone/>
              <a:defRPr sz="1833"/>
            </a:lvl5pPr>
          </a:lstStyle>
          <a:p>
            <a:pPr lvl="0"/>
            <a:r>
              <a:rPr lang="en-US"/>
              <a:t>Click to edit Master text styles</a:t>
            </a:r>
          </a:p>
          <a:p>
            <a:pPr lvl="1"/>
            <a:r>
              <a:rPr lang="en-US"/>
              <a:t>Second level</a:t>
            </a:r>
          </a:p>
          <a:p>
            <a:pPr lvl="2"/>
            <a:r>
              <a:rPr lang="en-US"/>
              <a:t>Third level</a:t>
            </a:r>
          </a:p>
        </p:txBody>
      </p:sp>
      <p:sp>
        <p:nvSpPr>
          <p:cNvPr id="4" name="Slide Number Placeholder 1"/>
          <p:cNvSpPr>
            <a:spLocks noGrp="1"/>
          </p:cNvSpPr>
          <p:nvPr>
            <p:ph type="sldNum" sz="quarter" idx="4"/>
          </p:nvPr>
        </p:nvSpPr>
        <p:spPr>
          <a:xfrm>
            <a:off x="10701131" y="6352802"/>
            <a:ext cx="732364" cy="298823"/>
          </a:xfrm>
          <a:prstGeom prst="rect">
            <a:avLst/>
          </a:prstGeom>
        </p:spPr>
        <p:txBody>
          <a:bodyPr vert="horz" lIns="0" tIns="0" rIns="0" bIns="0" rtlCol="0" anchor="b"/>
          <a:lstStyle>
            <a:lvl1pPr algn="r">
              <a:defRPr sz="833">
                <a:solidFill>
                  <a:schemeClr val="tx1">
                    <a:tint val="75000"/>
                  </a:schemeClr>
                </a:solidFill>
              </a:defRPr>
            </a:lvl1pPr>
          </a:lstStyle>
          <a:p>
            <a:fld id="{11EC18AE-5831-5845-B137-5B56E031790C}" type="slidenum">
              <a:rPr lang="en-US" smtClean="0"/>
              <a:pPr/>
              <a:t>‹N°›</a:t>
            </a:fld>
            <a:endParaRPr lang="en-US"/>
          </a:p>
        </p:txBody>
      </p:sp>
      <p:sp>
        <p:nvSpPr>
          <p:cNvPr id="6" name="Footer Placeholder 6"/>
          <p:cNvSpPr>
            <a:spLocks noGrp="1"/>
          </p:cNvSpPr>
          <p:nvPr>
            <p:ph type="ftr" sz="quarter" idx="3"/>
          </p:nvPr>
        </p:nvSpPr>
        <p:spPr>
          <a:xfrm>
            <a:off x="4921832" y="6352802"/>
            <a:ext cx="5356948" cy="298823"/>
          </a:xfrm>
          <a:prstGeom prst="rect">
            <a:avLst/>
          </a:prstGeom>
        </p:spPr>
        <p:txBody>
          <a:bodyPr vert="horz" lIns="0" tIns="0" rIns="0" bIns="0" rtlCol="0" anchor="b"/>
          <a:lstStyle>
            <a:lvl1pPr algn="ctr">
              <a:defRPr sz="833">
                <a:solidFill>
                  <a:schemeClr val="tx1">
                    <a:tint val="75000"/>
                  </a:schemeClr>
                </a:solidFill>
              </a:defRPr>
            </a:lvl1pPr>
          </a:lstStyle>
          <a:p>
            <a:endParaRPr lang="en-US"/>
          </a:p>
        </p:txBody>
      </p:sp>
    </p:spTree>
    <p:extLst>
      <p:ext uri="{BB962C8B-B14F-4D97-AF65-F5344CB8AC3E}">
        <p14:creationId xmlns:p14="http://schemas.microsoft.com/office/powerpoint/2010/main" val="34784033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65125"/>
            <a:ext cx="10820400" cy="1201191"/>
          </a:xfrm>
        </p:spPr>
        <p:txBody>
          <a:bodyPr/>
          <a:lstStyle/>
          <a:p>
            <a:r>
              <a:rPr lang="en-US"/>
              <a:t>Click to edit Master title style</a:t>
            </a:r>
          </a:p>
        </p:txBody>
      </p:sp>
      <p:sp>
        <p:nvSpPr>
          <p:cNvPr id="5" name="Content Placeholder 4"/>
          <p:cNvSpPr>
            <a:spLocks noGrp="1"/>
          </p:cNvSpPr>
          <p:nvPr>
            <p:ph sz="quarter" idx="11"/>
          </p:nvPr>
        </p:nvSpPr>
        <p:spPr>
          <a:xfrm>
            <a:off x="685271" y="1703296"/>
            <a:ext cx="10820400" cy="4265704"/>
          </a:xfrm>
        </p:spPr>
        <p:txBody>
          <a:bodyPr/>
          <a:lstStyle>
            <a:lvl2pPr>
              <a:defRPr baseline="0">
                <a:latin typeface="+mj-lt"/>
              </a:defRPr>
            </a:lvl2pPr>
            <a:lvl3pPr>
              <a:defRPr baseline="0">
                <a:latin typeface="+mj-lt"/>
              </a:defRPr>
            </a:lvl3pPr>
          </a:lstStyle>
          <a:p>
            <a:pPr lvl="0"/>
            <a:r>
              <a:rPr lang="en-US"/>
              <a:t>Click to edit Master text styles</a:t>
            </a:r>
          </a:p>
          <a:p>
            <a:pPr lvl="1"/>
            <a:r>
              <a:rPr lang="en-US"/>
              <a:t>Second level</a:t>
            </a:r>
          </a:p>
          <a:p>
            <a:pPr lvl="2"/>
            <a:r>
              <a:rPr lang="en-US"/>
              <a:t>Third level</a:t>
            </a:r>
          </a:p>
        </p:txBody>
      </p:sp>
      <p:sp>
        <p:nvSpPr>
          <p:cNvPr id="7" name="Slide Number Placeholder 1"/>
          <p:cNvSpPr>
            <a:spLocks noGrp="1"/>
          </p:cNvSpPr>
          <p:nvPr>
            <p:ph type="sldNum" sz="quarter" idx="4"/>
          </p:nvPr>
        </p:nvSpPr>
        <p:spPr>
          <a:xfrm>
            <a:off x="10701131" y="6352802"/>
            <a:ext cx="732364" cy="298823"/>
          </a:xfrm>
          <a:prstGeom prst="rect">
            <a:avLst/>
          </a:prstGeom>
        </p:spPr>
        <p:txBody>
          <a:bodyPr vert="horz" lIns="0" tIns="0" rIns="0" bIns="0" rtlCol="0" anchor="b"/>
          <a:lstStyle>
            <a:lvl1pPr algn="r">
              <a:defRPr sz="833">
                <a:solidFill>
                  <a:schemeClr val="tx1">
                    <a:tint val="75000"/>
                  </a:schemeClr>
                </a:solidFill>
              </a:defRPr>
            </a:lvl1pPr>
          </a:lstStyle>
          <a:p>
            <a:fld id="{11EC18AE-5831-5845-B137-5B56E031790C}" type="slidenum">
              <a:rPr lang="en-US" smtClean="0"/>
              <a:pPr/>
              <a:t>‹N°›</a:t>
            </a:fld>
            <a:endParaRPr lang="en-US"/>
          </a:p>
        </p:txBody>
      </p:sp>
      <p:sp>
        <p:nvSpPr>
          <p:cNvPr id="8" name="Footer Placeholder 6"/>
          <p:cNvSpPr>
            <a:spLocks noGrp="1"/>
          </p:cNvSpPr>
          <p:nvPr>
            <p:ph type="ftr" sz="quarter" idx="3"/>
          </p:nvPr>
        </p:nvSpPr>
        <p:spPr>
          <a:xfrm>
            <a:off x="4921832" y="6352802"/>
            <a:ext cx="5356948" cy="298823"/>
          </a:xfrm>
          <a:prstGeom prst="rect">
            <a:avLst/>
          </a:prstGeom>
        </p:spPr>
        <p:txBody>
          <a:bodyPr vert="horz" lIns="0" tIns="0" rIns="0" bIns="0" rtlCol="0" anchor="b"/>
          <a:lstStyle>
            <a:lvl1pPr algn="ctr">
              <a:defRPr sz="833">
                <a:solidFill>
                  <a:schemeClr val="tx1">
                    <a:tint val="75000"/>
                  </a:schemeClr>
                </a:solidFill>
              </a:defRPr>
            </a:lvl1pPr>
          </a:lstStyle>
          <a:p>
            <a:endParaRPr lang="en-US"/>
          </a:p>
        </p:txBody>
      </p:sp>
    </p:spTree>
    <p:extLst>
      <p:ext uri="{BB962C8B-B14F-4D97-AF65-F5344CB8AC3E}">
        <p14:creationId xmlns:p14="http://schemas.microsoft.com/office/powerpoint/2010/main" val="29655651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ver">
    <p:spTree>
      <p:nvGrpSpPr>
        <p:cNvPr id="1" name=""/>
        <p:cNvGrpSpPr/>
        <p:nvPr/>
      </p:nvGrpSpPr>
      <p:grpSpPr>
        <a:xfrm>
          <a:off x="0" y="0"/>
          <a:ext cx="0" cy="0"/>
          <a:chOff x="0" y="0"/>
          <a:chExt cx="0" cy="0"/>
        </a:xfrm>
      </p:grpSpPr>
      <p:pic>
        <p:nvPicPr>
          <p:cNvPr id="14" name="Picture 13" descr="A picture containing graphical user interface&#10;&#10;Description automatically generated">
            <a:extLst>
              <a:ext uri="{FF2B5EF4-FFF2-40B4-BE49-F238E27FC236}">
                <a16:creationId xmlns:a16="http://schemas.microsoft.com/office/drawing/2014/main" id="{DEE3AFC0-1BEF-C043-B4BB-D4F44B5F26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73066" y="2587336"/>
            <a:ext cx="8520547" cy="4270664"/>
          </a:xfrm>
          <a:prstGeom prst="rect">
            <a:avLst/>
          </a:prstGeom>
        </p:spPr>
      </p:pic>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02946"/>
          </a:xfrm>
          <a:prstGeom prst="rect">
            <a:avLst/>
          </a:prstGeom>
          <a:solidFill>
            <a:srgbClr val="33A4B7">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latin typeface="EC Square Sans Pro" panose="020B0506040000020004" pitchFamily="34" charset="0"/>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a:prstGeom prst="rect">
            <a:avLst/>
          </a:prstGeom>
        </p:spPr>
        <p:txBody>
          <a:bodyPr>
            <a:noAutofit/>
          </a:bodyPr>
          <a:lstStyle>
            <a:lvl1pPr marL="0" indent="0" algn="l">
              <a:buNone/>
              <a:defRPr sz="2800" i="0">
                <a:solidFill>
                  <a:schemeClr val="accent5">
                    <a:lumMod val="60000"/>
                    <a:lumOff val="40000"/>
                  </a:schemeClr>
                </a:solidFill>
                <a:latin typeface="EC Square Sans Pro" panose="020B050604000002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2144281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CA74BF2-60AE-432D-B809-6CE549DEA89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Subline/speaker/date</a:t>
            </a:r>
          </a:p>
          <a:p>
            <a:pPr lvl="1"/>
            <a:r>
              <a:rPr lang="de-DE"/>
              <a:t>—</a:t>
            </a:r>
          </a:p>
          <a:p>
            <a:pPr lvl="2"/>
            <a:r>
              <a:rPr lang="de-DE"/>
              <a:t>Headline, Frutiger LT </a:t>
            </a:r>
            <a:r>
              <a:rPr lang="de-DE" err="1"/>
              <a:t>Com</a:t>
            </a:r>
            <a:r>
              <a:rPr lang="de-DE"/>
              <a:t> Lt, 32 </a:t>
            </a:r>
            <a:r>
              <a:rPr lang="de-DE" err="1"/>
              <a:t>pt</a:t>
            </a:r>
            <a:endParaRPr lang="de-DE"/>
          </a:p>
          <a:p>
            <a:pPr lvl="3"/>
            <a:r>
              <a:rPr lang="de-DE"/>
              <a:t>Speakers</a:t>
            </a:r>
          </a:p>
        </p:txBody>
      </p:sp>
      <p:pic>
        <p:nvPicPr>
          <p:cNvPr id="6" name="isi_rgb_modul_send_en">
            <a:extLst>
              <a:ext uri="{FF2B5EF4-FFF2-40B4-BE49-F238E27FC236}">
                <a16:creationId xmlns:a16="http://schemas.microsoft.com/office/drawing/2014/main" id="{C872C86B-DC39-45E5-B31D-420ACBB2D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4519447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hasCustomPrompt="1"/>
          </p:nvPr>
        </p:nvSpPr>
        <p:spPr>
          <a:xfrm>
            <a:off x="478199" y="1703388"/>
            <a:ext cx="11233150" cy="2640595"/>
          </a:xfrm>
        </p:spPr>
        <p:txBody>
          <a:bodyPr/>
          <a:lstStyle>
            <a:lvl5pPr>
              <a:defRPr/>
            </a:lvl5p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3" name="Datumsplatzhalter 2">
            <a:extLst>
              <a:ext uri="{FF2B5EF4-FFF2-40B4-BE49-F238E27FC236}">
                <a16:creationId xmlns:a16="http://schemas.microsoft.com/office/drawing/2014/main" id="{24580799-6CA8-4E79-B6A8-7CEC7DE6B371}"/>
              </a:ext>
            </a:extLst>
          </p:cNvPr>
          <p:cNvSpPr>
            <a:spLocks noGrp="1"/>
          </p:cNvSpPr>
          <p:nvPr>
            <p:ph type="dt" sz="half" idx="15"/>
          </p:nvPr>
        </p:nvSpPr>
        <p:spPr/>
        <p:txBody>
          <a:bodyPr/>
          <a:lstStyle/>
          <a:p>
            <a:fld id="{21AF35FA-38CA-44EF-8E47-8E0282D5182B}" type="datetime1">
              <a:rPr lang="de-DE" noProof="0" smtClean="0"/>
              <a:t>24.05.2023</a:t>
            </a:fld>
            <a:endParaRPr lang="de-DE" noProof="0"/>
          </a:p>
        </p:txBody>
      </p:sp>
      <p:sp>
        <p:nvSpPr>
          <p:cNvPr id="4" name="Fußzeilenplatzhalter 3">
            <a:extLst>
              <a:ext uri="{FF2B5EF4-FFF2-40B4-BE49-F238E27FC236}">
                <a16:creationId xmlns:a16="http://schemas.microsoft.com/office/drawing/2014/main" id="{5FFD07C3-3AC8-443B-9A9C-69C144293821}"/>
              </a:ext>
            </a:extLst>
          </p:cNvPr>
          <p:cNvSpPr>
            <a:spLocks noGrp="1"/>
          </p:cNvSpPr>
          <p:nvPr>
            <p:ph type="ftr" sz="quarter" idx="16"/>
          </p:nvPr>
        </p:nvSpPr>
        <p:spPr/>
        <p:txBody>
          <a:bodyPr/>
          <a:lstStyle/>
          <a:p>
            <a:r>
              <a:rPr lang="de-DE" noProof="0"/>
              <a:t>© Fraunhofer ISI</a:t>
            </a:r>
          </a:p>
        </p:txBody>
      </p:sp>
      <p:sp>
        <p:nvSpPr>
          <p:cNvPr id="6" name="Foliennummernplatzhalter 5">
            <a:extLst>
              <a:ext uri="{FF2B5EF4-FFF2-40B4-BE49-F238E27FC236}">
                <a16:creationId xmlns:a16="http://schemas.microsoft.com/office/drawing/2014/main" id="{6C6B76B4-FD05-4521-A9B8-94DCF2391F92}"/>
              </a:ext>
            </a:extLst>
          </p:cNvPr>
          <p:cNvSpPr>
            <a:spLocks noGrp="1"/>
          </p:cNvSpPr>
          <p:nvPr>
            <p:ph type="sldNum" sz="quarter" idx="17"/>
          </p:nvPr>
        </p:nvSpPr>
        <p:spPr/>
        <p:txBody>
          <a:bodyPr/>
          <a:lstStyle/>
          <a:p>
            <a:fld id="{3D81EE41-304C-41C3-8185-350F2275D756}" type="slidenum">
              <a:rPr lang="de-DE" smtClean="0"/>
              <a:pPr/>
              <a:t>‹N°›</a:t>
            </a:fld>
            <a:endParaRPr lang="de-DE"/>
          </a:p>
        </p:txBody>
      </p:sp>
    </p:spTree>
    <p:extLst>
      <p:ext uri="{BB962C8B-B14F-4D97-AF65-F5344CB8AC3E}">
        <p14:creationId xmlns:p14="http://schemas.microsoft.com/office/powerpoint/2010/main" val="333615953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hasCustomPrompt="1"/>
          </p:nvPr>
        </p:nvSpPr>
        <p:spPr/>
        <p:txBody>
          <a:bodyPr vert="horz"/>
          <a:lstStyle/>
          <a:p>
            <a:r>
              <a:rPr lang="de-DE"/>
              <a:t>Headline, Frutiger LT </a:t>
            </a:r>
            <a:r>
              <a:rPr lang="de-DE" err="1"/>
              <a:t>Com</a:t>
            </a:r>
            <a:r>
              <a:rPr lang="de-DE"/>
              <a:t> Bd, 24 </a:t>
            </a:r>
            <a:r>
              <a:rPr lang="de-DE" err="1"/>
              <a:t>pt</a:t>
            </a:r>
            <a:endParaRPr lang="en-US"/>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r>
              <a:rPr lang="de-DE" err="1"/>
              <a:t>Subline</a:t>
            </a:r>
            <a:r>
              <a:rPr lang="de-DE"/>
              <a:t>, Frutiger LT </a:t>
            </a:r>
            <a:r>
              <a:rPr lang="de-DE" err="1"/>
              <a:t>Com</a:t>
            </a:r>
            <a:r>
              <a:rPr lang="de-DE"/>
              <a:t> Lt, 20 </a:t>
            </a:r>
            <a:r>
              <a:rPr lang="de-DE" err="1"/>
              <a:t>pt</a:t>
            </a:r>
            <a:endParaRPr lang="en-US"/>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hasCustomPrompt="1"/>
          </p:nvPr>
        </p:nvSpPr>
        <p:spPr>
          <a:xfrm>
            <a:off x="478199" y="1703388"/>
            <a:ext cx="5437188"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hasCustomPrompt="1"/>
          </p:nvPr>
        </p:nvSpPr>
        <p:spPr>
          <a:xfrm>
            <a:off x="6275388" y="1703388"/>
            <a:ext cx="5437187" cy="2640595"/>
          </a:xfrm>
        </p:spPr>
        <p:txBody>
          <a:bodyPr/>
          <a:lstStyle/>
          <a:p>
            <a:pPr lvl="0"/>
            <a:r>
              <a:rPr lang="de-DE" noProof="0"/>
              <a:t>Level 1</a:t>
            </a:r>
          </a:p>
          <a:p>
            <a:pPr lvl="1"/>
            <a:r>
              <a:rPr lang="de-DE" noProof="0"/>
              <a:t>Level 2</a:t>
            </a:r>
          </a:p>
          <a:p>
            <a:pPr lvl="2"/>
            <a:r>
              <a:rPr lang="de-DE" noProof="0"/>
              <a:t>Level 3</a:t>
            </a:r>
          </a:p>
          <a:p>
            <a:pPr lvl="3"/>
            <a:r>
              <a:rPr lang="de-DE" noProof="0"/>
              <a:t>Level 4</a:t>
            </a:r>
          </a:p>
          <a:p>
            <a:pPr lvl="4"/>
            <a:r>
              <a:rPr lang="de-DE" noProof="0"/>
              <a:t>Level 5</a:t>
            </a:r>
          </a:p>
          <a:p>
            <a:pPr lvl="5"/>
            <a:r>
              <a:rPr lang="de-DE" noProof="0"/>
              <a:t>Level 6</a:t>
            </a:r>
          </a:p>
          <a:p>
            <a:pPr lvl="6"/>
            <a:r>
              <a:rPr lang="de-DE" noProof="0"/>
              <a:t>Level 7</a:t>
            </a:r>
          </a:p>
          <a:p>
            <a:pPr lvl="7"/>
            <a:r>
              <a:rPr lang="de-DE" noProof="0"/>
              <a:t>Level 8</a:t>
            </a:r>
          </a:p>
          <a:p>
            <a:pPr lvl="8"/>
            <a:r>
              <a:rPr lang="de-DE" noProof="0"/>
              <a:t>Level 9</a:t>
            </a:r>
          </a:p>
        </p:txBody>
      </p:sp>
      <p:sp>
        <p:nvSpPr>
          <p:cNvPr id="3" name="Datumsplatzhalter 2">
            <a:extLst>
              <a:ext uri="{FF2B5EF4-FFF2-40B4-BE49-F238E27FC236}">
                <a16:creationId xmlns:a16="http://schemas.microsoft.com/office/drawing/2014/main" id="{502B98C0-CD3B-4858-9EBF-1ABA8A5F4851}"/>
              </a:ext>
            </a:extLst>
          </p:cNvPr>
          <p:cNvSpPr>
            <a:spLocks noGrp="1"/>
          </p:cNvSpPr>
          <p:nvPr>
            <p:ph type="dt" sz="half" idx="16"/>
          </p:nvPr>
        </p:nvSpPr>
        <p:spPr/>
        <p:txBody>
          <a:bodyPr/>
          <a:lstStyle/>
          <a:p>
            <a:fld id="{B6209F03-70C9-4760-BCE3-39DF4609D022}" type="datetime1">
              <a:rPr lang="de-DE" noProof="0" smtClean="0"/>
              <a:t>24.05.2023</a:t>
            </a:fld>
            <a:endParaRPr lang="de-DE" noProof="0"/>
          </a:p>
        </p:txBody>
      </p:sp>
      <p:sp>
        <p:nvSpPr>
          <p:cNvPr id="6" name="Fußzeilenplatzhalter 5">
            <a:extLst>
              <a:ext uri="{FF2B5EF4-FFF2-40B4-BE49-F238E27FC236}">
                <a16:creationId xmlns:a16="http://schemas.microsoft.com/office/drawing/2014/main" id="{0A9339C1-56D0-4552-B568-77AAE6F881E8}"/>
              </a:ext>
            </a:extLst>
          </p:cNvPr>
          <p:cNvSpPr>
            <a:spLocks noGrp="1"/>
          </p:cNvSpPr>
          <p:nvPr>
            <p:ph type="ftr" sz="quarter" idx="17"/>
          </p:nvPr>
        </p:nvSpPr>
        <p:spPr/>
        <p:txBody>
          <a:bodyPr/>
          <a:lstStyle/>
          <a:p>
            <a:r>
              <a:rPr lang="de-DE" noProof="0"/>
              <a:t>© Fraunhofer ISI</a:t>
            </a:r>
          </a:p>
        </p:txBody>
      </p:sp>
      <p:sp>
        <p:nvSpPr>
          <p:cNvPr id="12" name="Foliennummernplatzhalter 11">
            <a:extLst>
              <a:ext uri="{FF2B5EF4-FFF2-40B4-BE49-F238E27FC236}">
                <a16:creationId xmlns:a16="http://schemas.microsoft.com/office/drawing/2014/main" id="{5C5B5A5E-5260-4ADB-9A78-B7522733BFDA}"/>
              </a:ext>
            </a:extLst>
          </p:cNvPr>
          <p:cNvSpPr>
            <a:spLocks noGrp="1"/>
          </p:cNvSpPr>
          <p:nvPr>
            <p:ph type="sldNum" sz="quarter" idx="18"/>
          </p:nvPr>
        </p:nvSpPr>
        <p:spPr/>
        <p:txBody>
          <a:bodyPr/>
          <a:lstStyle/>
          <a:p>
            <a:fld id="{3D81EE41-304C-41C3-8185-350F2275D756}" type="slidenum">
              <a:rPr lang="de-DE" smtClean="0"/>
              <a:pPr/>
              <a:t>‹N°›</a:t>
            </a:fld>
            <a:endParaRPr lang="de-DE"/>
          </a:p>
        </p:txBody>
      </p:sp>
    </p:spTree>
    <p:extLst>
      <p:ext uri="{BB962C8B-B14F-4D97-AF65-F5344CB8AC3E}">
        <p14:creationId xmlns:p14="http://schemas.microsoft.com/office/powerpoint/2010/main" val="313387396"/>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Kontaktfolie –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233E68D-B08D-4763-8344-83249244269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Contact </a:t>
            </a:r>
          </a:p>
          <a:p>
            <a:pPr lvl="1"/>
            <a:r>
              <a:rPr lang="de-DE"/>
              <a:t>—</a:t>
            </a:r>
          </a:p>
          <a:p>
            <a:pPr lvl="2"/>
            <a:r>
              <a:rPr lang="en-US"/>
              <a:t>Title first name last name</a:t>
            </a:r>
            <a:endParaRPr lang="de-DE"/>
          </a:p>
          <a:p>
            <a:pPr lvl="2"/>
            <a:r>
              <a:rPr lang="de-DE"/>
              <a:t>Business unit XXX </a:t>
            </a:r>
          </a:p>
          <a:p>
            <a:pPr lvl="2"/>
            <a:r>
              <a:rPr lang="de-DE"/>
              <a:t>Tel. +49 12 3456-XXXX</a:t>
            </a:r>
          </a:p>
          <a:p>
            <a:pPr lvl="2"/>
            <a:r>
              <a:rPr lang="de-DE"/>
              <a:t>Fax +49 12 3456-XXXX</a:t>
            </a:r>
          </a:p>
          <a:p>
            <a:pPr lvl="2"/>
            <a:r>
              <a:rPr lang="de-DE"/>
              <a:t>vorname.name@fraunhofer.de</a:t>
            </a:r>
          </a:p>
          <a:p>
            <a:pPr lvl="3"/>
            <a:endParaRPr lang="pt-BR"/>
          </a:p>
          <a:p>
            <a:pPr lvl="3"/>
            <a:r>
              <a:rPr lang="pt-BR"/>
              <a:t>Fraunhofer XYZ</a:t>
            </a:r>
          </a:p>
          <a:p>
            <a:pPr lvl="3"/>
            <a:r>
              <a:rPr lang="pt-BR"/>
              <a:t>Street XY </a:t>
            </a:r>
          </a:p>
          <a:p>
            <a:pPr lvl="3"/>
            <a:r>
              <a:rPr lang="pt-BR"/>
              <a:t>12345 City</a:t>
            </a:r>
          </a:p>
          <a:p>
            <a:pPr lvl="3"/>
            <a:r>
              <a:rPr lang="pt-BR"/>
              <a:t>www.fraunhofer.de</a:t>
            </a:r>
          </a:p>
        </p:txBody>
      </p:sp>
      <p:pic>
        <p:nvPicPr>
          <p:cNvPr id="7" name="isi_rgb_modul_send_en">
            <a:extLst>
              <a:ext uri="{FF2B5EF4-FFF2-40B4-BE49-F238E27FC236}">
                <a16:creationId xmlns:a16="http://schemas.microsoft.com/office/drawing/2014/main" id="{C872C86B-DC39-45E5-B31D-420ACBB2DCBF}"/>
              </a:ext>
            </a:extLst>
          </p:cNvPr>
          <p:cNvPicPr>
            <a:picLocks noChangeAspect="1"/>
          </p:cNvPicPr>
          <p:nvPr userDrawn="1"/>
        </p:nvPicPr>
        <p:blipFill>
          <a:blip r:embed="rId6"/>
          <a:stretch>
            <a:fillRect/>
          </a:stretch>
        </p:blipFill>
        <p:spPr>
          <a:xfrm>
            <a:off x="9192575" y="476250"/>
            <a:ext cx="2520000" cy="1471400"/>
          </a:xfrm>
          <a:prstGeom prst="rect">
            <a:avLst/>
          </a:prstGeom>
        </p:spPr>
      </p:pic>
    </p:spTree>
    <p:extLst>
      <p:ext uri="{BB962C8B-B14F-4D97-AF65-F5344CB8AC3E}">
        <p14:creationId xmlns:p14="http://schemas.microsoft.com/office/powerpoint/2010/main" val="2366662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9" name="Rectangle 5"/>
          <p:cNvSpPr/>
          <p:nvPr/>
        </p:nvSpPr>
        <p:spPr>
          <a:xfrm rot="10800000">
            <a:off x="-94759" y="27772"/>
            <a:ext cx="12344400" cy="2841552"/>
          </a:xfrm>
          <a:custGeom>
            <a:avLst/>
            <a:gdLst>
              <a:gd name="connsiteX0" fmla="*/ 0 w 12203141"/>
              <a:gd name="connsiteY0" fmla="*/ 0 h 5054600"/>
              <a:gd name="connsiteX1" fmla="*/ 12203141 w 12203141"/>
              <a:gd name="connsiteY1" fmla="*/ 0 h 5054600"/>
              <a:gd name="connsiteX2" fmla="*/ 12203141 w 12203141"/>
              <a:gd name="connsiteY2" fmla="*/ 5054600 h 5054600"/>
              <a:gd name="connsiteX3" fmla="*/ 0 w 12203141"/>
              <a:gd name="connsiteY3" fmla="*/ 5054600 h 5054600"/>
              <a:gd name="connsiteX4" fmla="*/ 0 w 12203141"/>
              <a:gd name="connsiteY4" fmla="*/ 0 h 5054600"/>
              <a:gd name="connsiteX0" fmla="*/ 0 w 12203141"/>
              <a:gd name="connsiteY0" fmla="*/ 0 h 5054600"/>
              <a:gd name="connsiteX1" fmla="*/ 12072512 w 12203141"/>
              <a:gd name="connsiteY1" fmla="*/ 1436914 h 5054600"/>
              <a:gd name="connsiteX2" fmla="*/ 12203141 w 12203141"/>
              <a:gd name="connsiteY2" fmla="*/ 5054600 h 5054600"/>
              <a:gd name="connsiteX3" fmla="*/ 0 w 12203141"/>
              <a:gd name="connsiteY3" fmla="*/ 5054600 h 5054600"/>
              <a:gd name="connsiteX4" fmla="*/ 0 w 12203141"/>
              <a:gd name="connsiteY4" fmla="*/ 0 h 5054600"/>
              <a:gd name="connsiteX0" fmla="*/ 0 w 12203141"/>
              <a:gd name="connsiteY0" fmla="*/ 0 h 5054600"/>
              <a:gd name="connsiteX1" fmla="*/ 12184480 w 12203141"/>
              <a:gd name="connsiteY1" fmla="*/ 1026367 h 5054600"/>
              <a:gd name="connsiteX2" fmla="*/ 12203141 w 12203141"/>
              <a:gd name="connsiteY2" fmla="*/ 5054600 h 5054600"/>
              <a:gd name="connsiteX3" fmla="*/ 0 w 12203141"/>
              <a:gd name="connsiteY3" fmla="*/ 5054600 h 5054600"/>
              <a:gd name="connsiteX4" fmla="*/ 0 w 12203141"/>
              <a:gd name="connsiteY4" fmla="*/ 0 h 50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41" h="5054600">
                <a:moveTo>
                  <a:pt x="0" y="0"/>
                </a:moveTo>
                <a:lnTo>
                  <a:pt x="12184480" y="1026367"/>
                </a:lnTo>
                <a:cubicBezTo>
                  <a:pt x="12190700" y="2369111"/>
                  <a:pt x="12196921" y="3711856"/>
                  <a:pt x="12203141" y="5054600"/>
                </a:cubicBezTo>
                <a:lnTo>
                  <a:pt x="0" y="5054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rot="10800000">
            <a:off x="-17508" y="2075201"/>
            <a:ext cx="12203141" cy="794124"/>
          </a:xfrm>
          <a:custGeom>
            <a:avLst/>
            <a:gdLst>
              <a:gd name="connsiteX0" fmla="*/ 0 w 12203141"/>
              <a:gd name="connsiteY0" fmla="*/ 0 h 1425645"/>
              <a:gd name="connsiteX1" fmla="*/ 12203141 w 12203141"/>
              <a:gd name="connsiteY1" fmla="*/ 1025595 h 1425645"/>
              <a:gd name="connsiteX2" fmla="*/ 12203141 w 12203141"/>
              <a:gd name="connsiteY2" fmla="*/ 1425645 h 1425645"/>
              <a:gd name="connsiteX3" fmla="*/ 1615 w 12203141"/>
              <a:gd name="connsiteY3" fmla="*/ 96907 h 1425645"/>
              <a:gd name="connsiteX4" fmla="*/ 0 w 12203141"/>
              <a:gd name="connsiteY4" fmla="*/ 0 h 1425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41" h="1425645">
                <a:moveTo>
                  <a:pt x="0" y="0"/>
                </a:moveTo>
                <a:lnTo>
                  <a:pt x="12203141" y="1025595"/>
                </a:lnTo>
                <a:lnTo>
                  <a:pt x="12203141" y="1425645"/>
                </a:lnTo>
                <a:lnTo>
                  <a:pt x="1615" y="96907"/>
                </a:lnTo>
                <a:cubicBezTo>
                  <a:pt x="2259" y="73738"/>
                  <a:pt x="2902" y="50569"/>
                  <a:pt x="0" y="0"/>
                </a:cubicBezTo>
                <a:close/>
              </a:path>
            </a:pathLst>
          </a:custGeom>
          <a:solidFill>
            <a:srgbClr val="6A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1CD3F"/>
              </a:solidFill>
            </a:endParaRPr>
          </a:p>
        </p:txBody>
      </p:sp>
      <p:cxnSp>
        <p:nvCxnSpPr>
          <p:cNvPr id="13" name="Straight Connector 12"/>
          <p:cNvCxnSpPr/>
          <p:nvPr userDrawn="1"/>
        </p:nvCxnSpPr>
        <p:spPr>
          <a:xfrm flipH="1">
            <a:off x="805912" y="0"/>
            <a:ext cx="32288" cy="20752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1478636"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p:cNvGrpSpPr/>
          <p:nvPr userDrawn="1"/>
        </p:nvGrpSpPr>
        <p:grpSpPr>
          <a:xfrm>
            <a:off x="3242441" y="3037837"/>
            <a:ext cx="679276" cy="128324"/>
            <a:chOff x="1689100" y="5142176"/>
            <a:chExt cx="679276" cy="128324"/>
          </a:xfrm>
        </p:grpSpPr>
        <p:sp>
          <p:nvSpPr>
            <p:cNvPr id="18" name="Oval 17"/>
            <p:cNvSpPr/>
            <p:nvPr/>
          </p:nvSpPr>
          <p:spPr>
            <a:xfrm>
              <a:off x="1689100"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2057284"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2241376"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1873192" y="5142176"/>
              <a:ext cx="127000" cy="1270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Rectangle 21"/>
          <p:cNvSpPr/>
          <p:nvPr userDrawn="1"/>
        </p:nvSpPr>
        <p:spPr>
          <a:xfrm>
            <a:off x="4437620"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p:cNvGrpSpPr/>
          <p:nvPr userDrawn="1"/>
        </p:nvGrpSpPr>
        <p:grpSpPr>
          <a:xfrm>
            <a:off x="6201425" y="3037837"/>
            <a:ext cx="679276" cy="128324"/>
            <a:chOff x="1689100" y="5142176"/>
            <a:chExt cx="679276" cy="128324"/>
          </a:xfrm>
        </p:grpSpPr>
        <p:sp>
          <p:nvSpPr>
            <p:cNvPr id="26" name="Oval 25"/>
            <p:cNvSpPr/>
            <p:nvPr/>
          </p:nvSpPr>
          <p:spPr>
            <a:xfrm>
              <a:off x="1689100"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2057284"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p:nvSpPr>
          <p:spPr>
            <a:xfrm>
              <a:off x="2241376"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1873192" y="5142176"/>
              <a:ext cx="127000" cy="1270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Rectangle 29"/>
          <p:cNvSpPr/>
          <p:nvPr userDrawn="1"/>
        </p:nvSpPr>
        <p:spPr>
          <a:xfrm>
            <a:off x="7396604"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p:cNvGrpSpPr/>
          <p:nvPr userDrawn="1"/>
        </p:nvGrpSpPr>
        <p:grpSpPr>
          <a:xfrm>
            <a:off x="9160409" y="3037837"/>
            <a:ext cx="679276" cy="128324"/>
            <a:chOff x="1689100" y="5142176"/>
            <a:chExt cx="679276" cy="128324"/>
          </a:xfrm>
        </p:grpSpPr>
        <p:sp>
          <p:nvSpPr>
            <p:cNvPr id="34" name="Oval 33"/>
            <p:cNvSpPr/>
            <p:nvPr/>
          </p:nvSpPr>
          <p:spPr>
            <a:xfrm>
              <a:off x="1689100"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2057284"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2241376" y="5143500"/>
              <a:ext cx="127000" cy="127000"/>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1873192" y="5142176"/>
              <a:ext cx="127000" cy="1270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itle 1"/>
          <p:cNvSpPr>
            <a:spLocks noGrp="1"/>
          </p:cNvSpPr>
          <p:nvPr>
            <p:ph type="ctrTitle"/>
          </p:nvPr>
        </p:nvSpPr>
        <p:spPr>
          <a:xfrm>
            <a:off x="1057670" y="591069"/>
            <a:ext cx="10414510" cy="1161333"/>
          </a:xfrm>
        </p:spPr>
        <p:txBody>
          <a:bodyPr wrap="none" anchor="t">
            <a:noAutofit/>
          </a:bodyPr>
          <a:lstStyle>
            <a:lvl1pPr algn="l">
              <a:defRPr sz="6000" b="0">
                <a:solidFill>
                  <a:srgbClr val="6AB5AC"/>
                </a:solidFill>
              </a:defRPr>
            </a:lvl1pPr>
          </a:lstStyle>
          <a:p>
            <a:r>
              <a:rPr lang="en-US"/>
              <a:t>Click to edit Master title style</a:t>
            </a:r>
            <a:endParaRPr lang="en-GB"/>
          </a:p>
        </p:txBody>
      </p:sp>
      <p:sp>
        <p:nvSpPr>
          <p:cNvPr id="40" name="Text Placeholder 6"/>
          <p:cNvSpPr>
            <a:spLocks noGrp="1"/>
          </p:cNvSpPr>
          <p:nvPr>
            <p:ph type="body" sz="quarter" idx="10"/>
          </p:nvPr>
        </p:nvSpPr>
        <p:spPr>
          <a:xfrm>
            <a:off x="1697273" y="3521398"/>
            <a:ext cx="2280525" cy="2362166"/>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
        <p:nvSpPr>
          <p:cNvPr id="41" name="Text Placeholder 6"/>
          <p:cNvSpPr>
            <a:spLocks noGrp="1"/>
          </p:cNvSpPr>
          <p:nvPr>
            <p:ph type="body" sz="quarter" idx="11"/>
          </p:nvPr>
        </p:nvSpPr>
        <p:spPr>
          <a:xfrm>
            <a:off x="4656257" y="3521398"/>
            <a:ext cx="2280525" cy="2362165"/>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
        <p:nvSpPr>
          <p:cNvPr id="42" name="Text Placeholder 6"/>
          <p:cNvSpPr>
            <a:spLocks noGrp="1"/>
          </p:cNvSpPr>
          <p:nvPr>
            <p:ph type="body" sz="quarter" idx="12"/>
          </p:nvPr>
        </p:nvSpPr>
        <p:spPr>
          <a:xfrm>
            <a:off x="7615241" y="3521398"/>
            <a:ext cx="2280525" cy="2362165"/>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Tree>
    <p:extLst>
      <p:ext uri="{BB962C8B-B14F-4D97-AF65-F5344CB8AC3E}">
        <p14:creationId xmlns:p14="http://schemas.microsoft.com/office/powerpoint/2010/main" val="36033183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Last slide (option 1)">
    <p:spTree>
      <p:nvGrpSpPr>
        <p:cNvPr id="1" name=""/>
        <p:cNvGrpSpPr/>
        <p:nvPr/>
      </p:nvGrpSpPr>
      <p:grpSpPr>
        <a:xfrm>
          <a:off x="0" y="0"/>
          <a:ext cx="0" cy="0"/>
          <a:chOff x="0" y="0"/>
          <a:chExt cx="0" cy="0"/>
        </a:xfrm>
      </p:grpSpPr>
      <p:sp>
        <p:nvSpPr>
          <p:cNvPr id="9" name="Rectangle 5"/>
          <p:cNvSpPr/>
          <p:nvPr/>
        </p:nvSpPr>
        <p:spPr>
          <a:xfrm rot="10800000">
            <a:off x="-94759" y="27772"/>
            <a:ext cx="12344400" cy="6830228"/>
          </a:xfrm>
          <a:custGeom>
            <a:avLst/>
            <a:gdLst>
              <a:gd name="connsiteX0" fmla="*/ 0 w 12203141"/>
              <a:gd name="connsiteY0" fmla="*/ 0 h 5054600"/>
              <a:gd name="connsiteX1" fmla="*/ 12203141 w 12203141"/>
              <a:gd name="connsiteY1" fmla="*/ 0 h 5054600"/>
              <a:gd name="connsiteX2" fmla="*/ 12203141 w 12203141"/>
              <a:gd name="connsiteY2" fmla="*/ 5054600 h 5054600"/>
              <a:gd name="connsiteX3" fmla="*/ 0 w 12203141"/>
              <a:gd name="connsiteY3" fmla="*/ 5054600 h 5054600"/>
              <a:gd name="connsiteX4" fmla="*/ 0 w 12203141"/>
              <a:gd name="connsiteY4" fmla="*/ 0 h 5054600"/>
              <a:gd name="connsiteX0" fmla="*/ 0 w 12203141"/>
              <a:gd name="connsiteY0" fmla="*/ 0 h 5054600"/>
              <a:gd name="connsiteX1" fmla="*/ 12072512 w 12203141"/>
              <a:gd name="connsiteY1" fmla="*/ 1436914 h 5054600"/>
              <a:gd name="connsiteX2" fmla="*/ 12203141 w 12203141"/>
              <a:gd name="connsiteY2" fmla="*/ 5054600 h 5054600"/>
              <a:gd name="connsiteX3" fmla="*/ 0 w 12203141"/>
              <a:gd name="connsiteY3" fmla="*/ 5054600 h 5054600"/>
              <a:gd name="connsiteX4" fmla="*/ 0 w 12203141"/>
              <a:gd name="connsiteY4" fmla="*/ 0 h 5054600"/>
              <a:gd name="connsiteX0" fmla="*/ 0 w 12203141"/>
              <a:gd name="connsiteY0" fmla="*/ 0 h 5054600"/>
              <a:gd name="connsiteX1" fmla="*/ 12184480 w 12203141"/>
              <a:gd name="connsiteY1" fmla="*/ 1026367 h 5054600"/>
              <a:gd name="connsiteX2" fmla="*/ 12203141 w 12203141"/>
              <a:gd name="connsiteY2" fmla="*/ 5054600 h 5054600"/>
              <a:gd name="connsiteX3" fmla="*/ 0 w 12203141"/>
              <a:gd name="connsiteY3" fmla="*/ 5054600 h 5054600"/>
              <a:gd name="connsiteX4" fmla="*/ 0 w 12203141"/>
              <a:gd name="connsiteY4" fmla="*/ 0 h 505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41" h="5054600">
                <a:moveTo>
                  <a:pt x="0" y="0"/>
                </a:moveTo>
                <a:lnTo>
                  <a:pt x="12184480" y="1026367"/>
                </a:lnTo>
                <a:cubicBezTo>
                  <a:pt x="12190700" y="2369111"/>
                  <a:pt x="12196921" y="3711856"/>
                  <a:pt x="12203141" y="5054600"/>
                </a:cubicBezTo>
                <a:lnTo>
                  <a:pt x="0" y="5054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rot="10800000">
            <a:off x="-94759" y="2075201"/>
            <a:ext cx="12344400" cy="794124"/>
          </a:xfrm>
          <a:custGeom>
            <a:avLst/>
            <a:gdLst>
              <a:gd name="connsiteX0" fmla="*/ 0 w 12203141"/>
              <a:gd name="connsiteY0" fmla="*/ 0 h 1425645"/>
              <a:gd name="connsiteX1" fmla="*/ 12203141 w 12203141"/>
              <a:gd name="connsiteY1" fmla="*/ 1025595 h 1425645"/>
              <a:gd name="connsiteX2" fmla="*/ 12203141 w 12203141"/>
              <a:gd name="connsiteY2" fmla="*/ 1425645 h 1425645"/>
              <a:gd name="connsiteX3" fmla="*/ 1615 w 12203141"/>
              <a:gd name="connsiteY3" fmla="*/ 96907 h 1425645"/>
              <a:gd name="connsiteX4" fmla="*/ 0 w 12203141"/>
              <a:gd name="connsiteY4" fmla="*/ 0 h 1425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3141" h="1425645">
                <a:moveTo>
                  <a:pt x="0" y="0"/>
                </a:moveTo>
                <a:lnTo>
                  <a:pt x="12203141" y="1025595"/>
                </a:lnTo>
                <a:lnTo>
                  <a:pt x="12203141" y="1425645"/>
                </a:lnTo>
                <a:lnTo>
                  <a:pt x="1615" y="96907"/>
                </a:lnTo>
                <a:cubicBezTo>
                  <a:pt x="2259" y="73738"/>
                  <a:pt x="2902" y="50569"/>
                  <a:pt x="0" y="0"/>
                </a:cubicBezTo>
                <a:close/>
              </a:path>
            </a:pathLst>
          </a:custGeom>
          <a:solidFill>
            <a:srgbClr val="6AB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1CD3F"/>
              </a:solidFill>
            </a:endParaRPr>
          </a:p>
        </p:txBody>
      </p:sp>
      <p:cxnSp>
        <p:nvCxnSpPr>
          <p:cNvPr id="13" name="Straight Connector 12"/>
          <p:cNvCxnSpPr/>
          <p:nvPr userDrawn="1"/>
        </p:nvCxnSpPr>
        <p:spPr>
          <a:xfrm flipH="1">
            <a:off x="805912" y="0"/>
            <a:ext cx="32288" cy="20752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1478636"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userDrawn="1"/>
        </p:nvSpPr>
        <p:spPr>
          <a:xfrm>
            <a:off x="4437620"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7396604" y="2720796"/>
            <a:ext cx="2717800" cy="3378340"/>
          </a:xfrm>
          <a:prstGeom prst="rect">
            <a:avLst/>
          </a:prstGeom>
          <a:solidFill>
            <a:schemeClr val="bg1"/>
          </a:solidFill>
          <a:ln>
            <a:noFill/>
          </a:ln>
          <a:effectLst>
            <a:outerShdw blurRad="190500" sx="102000" sy="102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itle 1"/>
          <p:cNvSpPr>
            <a:spLocks noGrp="1"/>
          </p:cNvSpPr>
          <p:nvPr>
            <p:ph type="ctrTitle"/>
          </p:nvPr>
        </p:nvSpPr>
        <p:spPr>
          <a:xfrm>
            <a:off x="1057670" y="591069"/>
            <a:ext cx="10414510" cy="1161333"/>
          </a:xfrm>
        </p:spPr>
        <p:txBody>
          <a:bodyPr wrap="none" anchor="t">
            <a:noAutofit/>
          </a:bodyPr>
          <a:lstStyle>
            <a:lvl1pPr algn="l">
              <a:defRPr sz="6000" b="0">
                <a:solidFill>
                  <a:srgbClr val="6AB5AC"/>
                </a:solidFill>
              </a:defRPr>
            </a:lvl1pPr>
          </a:lstStyle>
          <a:p>
            <a:r>
              <a:rPr lang="en-US"/>
              <a:t>Click to edit Master title style</a:t>
            </a:r>
            <a:endParaRPr lang="en-GB"/>
          </a:p>
        </p:txBody>
      </p:sp>
      <p:sp>
        <p:nvSpPr>
          <p:cNvPr id="38" name="TextBox 37"/>
          <p:cNvSpPr txBox="1"/>
          <p:nvPr userDrawn="1"/>
        </p:nvSpPr>
        <p:spPr>
          <a:xfrm>
            <a:off x="-118668" y="2136303"/>
            <a:ext cx="3096126" cy="1446550"/>
          </a:xfrm>
          <a:prstGeom prst="rect">
            <a:avLst/>
          </a:prstGeom>
          <a:noFill/>
        </p:spPr>
        <p:txBody>
          <a:bodyPr wrap="square" rtlCol="0">
            <a:spAutoFit/>
          </a:bodyPr>
          <a:lstStyle/>
          <a:p>
            <a:pPr algn="ctr"/>
            <a:r>
              <a:rPr lang="en-US" sz="8800" b="1">
                <a:solidFill>
                  <a:schemeClr val="accent1">
                    <a:lumMod val="20000"/>
                    <a:lumOff val="80000"/>
                  </a:schemeClr>
                </a:solidFill>
                <a:latin typeface="Montserrat" charset="0"/>
                <a:ea typeface="Montserrat" charset="0"/>
                <a:cs typeface="Montserrat" charset="0"/>
              </a:rPr>
              <a:t>01</a:t>
            </a:r>
          </a:p>
        </p:txBody>
      </p:sp>
      <p:sp>
        <p:nvSpPr>
          <p:cNvPr id="40" name="TextBox 39"/>
          <p:cNvSpPr txBox="1"/>
          <p:nvPr userDrawn="1"/>
        </p:nvSpPr>
        <p:spPr>
          <a:xfrm>
            <a:off x="2889557" y="2136303"/>
            <a:ext cx="3096126" cy="1446550"/>
          </a:xfrm>
          <a:prstGeom prst="rect">
            <a:avLst/>
          </a:prstGeom>
          <a:noFill/>
        </p:spPr>
        <p:txBody>
          <a:bodyPr wrap="square" rtlCol="0">
            <a:spAutoFit/>
          </a:bodyPr>
          <a:lstStyle/>
          <a:p>
            <a:pPr algn="ctr"/>
            <a:r>
              <a:rPr lang="en-US" sz="8800" b="1">
                <a:solidFill>
                  <a:schemeClr val="accent1">
                    <a:lumMod val="20000"/>
                    <a:lumOff val="80000"/>
                  </a:schemeClr>
                </a:solidFill>
                <a:latin typeface="Montserrat" charset="0"/>
                <a:ea typeface="Montserrat" charset="0"/>
                <a:cs typeface="Montserrat" charset="0"/>
              </a:rPr>
              <a:t>02</a:t>
            </a:r>
          </a:p>
        </p:txBody>
      </p:sp>
      <p:sp>
        <p:nvSpPr>
          <p:cNvPr id="42" name="TextBox 41"/>
          <p:cNvSpPr txBox="1"/>
          <p:nvPr userDrawn="1"/>
        </p:nvSpPr>
        <p:spPr>
          <a:xfrm>
            <a:off x="5848541" y="2136303"/>
            <a:ext cx="3096126" cy="1446550"/>
          </a:xfrm>
          <a:prstGeom prst="rect">
            <a:avLst/>
          </a:prstGeom>
          <a:noFill/>
        </p:spPr>
        <p:txBody>
          <a:bodyPr wrap="square" rtlCol="0">
            <a:spAutoFit/>
          </a:bodyPr>
          <a:lstStyle/>
          <a:p>
            <a:pPr algn="ctr"/>
            <a:r>
              <a:rPr lang="en-US" sz="8800" b="1">
                <a:solidFill>
                  <a:schemeClr val="accent1">
                    <a:lumMod val="20000"/>
                    <a:lumOff val="80000"/>
                  </a:schemeClr>
                </a:solidFill>
                <a:latin typeface="Montserrat" charset="0"/>
                <a:ea typeface="Montserrat" charset="0"/>
                <a:cs typeface="Montserrat" charset="0"/>
              </a:rPr>
              <a:t>03</a:t>
            </a:r>
          </a:p>
        </p:txBody>
      </p:sp>
      <p:sp>
        <p:nvSpPr>
          <p:cNvPr id="7" name="Text Placeholder 6"/>
          <p:cNvSpPr>
            <a:spLocks noGrp="1"/>
          </p:cNvSpPr>
          <p:nvPr>
            <p:ph type="body" sz="quarter" idx="10"/>
          </p:nvPr>
        </p:nvSpPr>
        <p:spPr>
          <a:xfrm>
            <a:off x="1664413" y="3643313"/>
            <a:ext cx="2280525" cy="2222500"/>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
        <p:nvSpPr>
          <p:cNvPr id="43" name="Text Placeholder 6"/>
          <p:cNvSpPr>
            <a:spLocks noGrp="1"/>
          </p:cNvSpPr>
          <p:nvPr>
            <p:ph type="body" sz="quarter" idx="11"/>
          </p:nvPr>
        </p:nvSpPr>
        <p:spPr>
          <a:xfrm>
            <a:off x="4656257" y="3643313"/>
            <a:ext cx="2280525" cy="2222500"/>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sp>
        <p:nvSpPr>
          <p:cNvPr id="44" name="Text Placeholder 6"/>
          <p:cNvSpPr>
            <a:spLocks noGrp="1"/>
          </p:cNvSpPr>
          <p:nvPr>
            <p:ph type="body" sz="quarter" idx="12"/>
          </p:nvPr>
        </p:nvSpPr>
        <p:spPr>
          <a:xfrm>
            <a:off x="7615241" y="3643313"/>
            <a:ext cx="2280525" cy="2222500"/>
          </a:xfrm>
          <a:prstGeom prst="rect">
            <a:avLst/>
          </a:prstGeom>
        </p:spPr>
        <p:txBody>
          <a:bodyPr/>
          <a:lstStyle>
            <a:lvl1pPr marL="0" indent="0">
              <a:buNone/>
              <a:defRPr sz="1400" baseline="0"/>
            </a:lvl1pPr>
            <a:lvl2pPr marL="457200" indent="0">
              <a:buNone/>
              <a:defRPr/>
            </a:lvl2pPr>
          </a:lstStyle>
          <a:p>
            <a:pPr lvl="0"/>
            <a:r>
              <a:rPr lang="en-US"/>
              <a:t>Edit Master text styles</a:t>
            </a:r>
          </a:p>
        </p:txBody>
      </p:sp>
      <p:pic>
        <p:nvPicPr>
          <p:cNvPr id="45" name="Picture 4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16106135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a:prstGeom prst="rect">
            <a:avLst/>
          </a:prstGeo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a:xfrm>
            <a:off x="838200" y="6131286"/>
            <a:ext cx="2743200" cy="365125"/>
          </a:xfrm>
          <a:prstGeom prst="rect">
            <a:avLst/>
          </a:prstGeom>
        </p:spPr>
        <p:txBody>
          <a:bodyPr>
            <a:noAutofit/>
          </a:bodyPr>
          <a:lstStyle/>
          <a:p>
            <a:fld id="{F46C79FD-C571-418B-AB0F-5EE936C85276}" type="slidenum">
              <a:rPr lang="en-GB" smtClean="0"/>
              <a:pPr/>
              <a:t>‹N°›</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458714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a:prstGeom prst="rect">
            <a:avLst/>
          </a:prstGeo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a:prstGeom prst="rect">
            <a:avLst/>
          </a:prstGeom>
          <a:noFill/>
        </p:spPr>
        <p:txBody>
          <a:bodyPr>
            <a:noAutofit/>
          </a:bodyPr>
          <a:lstStyle>
            <a:lvl1pPr marL="0" indent="0">
              <a:buNone/>
              <a:defRPr/>
            </a:lvl1pPr>
          </a:lstStyle>
          <a:p>
            <a:pPr lvl="0"/>
            <a:r>
              <a:rPr lang="en-US"/>
              <a:t>Edit Master text styles</a:t>
            </a:r>
          </a:p>
        </p:txBody>
      </p:sp>
      <p:sp>
        <p:nvSpPr>
          <p:cNvPr id="7" name="Slide Number Placeholder 6"/>
          <p:cNvSpPr>
            <a:spLocks noGrp="1"/>
          </p:cNvSpPr>
          <p:nvPr>
            <p:ph type="sldNum" sz="quarter" idx="12"/>
          </p:nvPr>
        </p:nvSpPr>
        <p:spPr>
          <a:xfrm>
            <a:off x="838200" y="6131286"/>
            <a:ext cx="2743200" cy="365125"/>
          </a:xfrm>
          <a:prstGeom prst="rect">
            <a:avLst/>
          </a:prstGeom>
        </p:spPr>
        <p:txBody>
          <a:bodyPr>
            <a:noAutofit/>
          </a:bodyPr>
          <a:lstStyle/>
          <a:p>
            <a:fld id="{F46C79FD-C571-418B-AB0F-5EE936C85276}" type="slidenum">
              <a:rPr lang="en-GB" smtClean="0"/>
              <a:pPr/>
              <a:t>‹N°›</a:t>
            </a:fld>
            <a:endParaRPr lang="en-GB"/>
          </a:p>
        </p:txBody>
      </p:sp>
      <p:cxnSp>
        <p:nvCxnSpPr>
          <p:cNvPr id="9" name="Straight Connector 8"/>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451840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a:prstGeom prst="rect">
            <a:avLst/>
          </a:prstGeo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097331"/>
          </a:xfrm>
          <a:prstGeom prst="rect">
            <a:avLst/>
          </a:pr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prstGeom prst="rect">
            <a:avLst/>
          </a:prstGeo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097331"/>
          </a:xfrm>
          <a:prstGeom prst="rect">
            <a:avLst/>
          </a:prstGeo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a:xfrm>
            <a:off x="838200" y="6131286"/>
            <a:ext cx="2743200" cy="365125"/>
          </a:xfrm>
          <a:prstGeom prst="rect">
            <a:avLst/>
          </a:prstGeom>
        </p:spPr>
        <p:txBody>
          <a:bodyPr>
            <a:noAutofit/>
          </a:bodyPr>
          <a:lstStyle/>
          <a:p>
            <a:fld id="{F46C79FD-C571-418B-AB0F-5EE936C85276}" type="slidenum">
              <a:rPr lang="en-GB" smtClean="0"/>
              <a:pPr/>
              <a:t>‹N°›</a:t>
            </a:fld>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75573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38200" y="6131286"/>
            <a:ext cx="2743200" cy="365125"/>
          </a:xfrm>
          <a:prstGeom prst="rect">
            <a:avLst/>
          </a:prstGeom>
        </p:spPr>
        <p:txBody>
          <a:bodyPr/>
          <a:lstStyle/>
          <a:p>
            <a:fld id="{F46C79FD-C571-418B-AB0F-5EE936C85276}" type="slidenum">
              <a:rPr lang="en-GB" smtClean="0"/>
              <a:pPr/>
              <a:t>‹N°›</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3885194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image" Target="../media/image2.png"/><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jpe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3"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1204829223"/>
      </p:ext>
    </p:extLst>
  </p:cSld>
  <p:clrMap bg1="lt1" tx1="dk1" bg2="lt2" tx2="dk2" accent1="accent1" accent2="accent2" accent3="accent3" accent4="accent4" accent5="accent5" accent6="accent6" hlink="hlink" folHlink="folHlink"/>
  <p:sldLayoutIdLst>
    <p:sldLayoutId id="2147483786" r:id="rId1"/>
    <p:sldLayoutId id="2147483947" r:id="rId2"/>
    <p:sldLayoutId id="2147483874" r:id="rId3"/>
    <p:sldLayoutId id="2147483789" r:id="rId4"/>
    <p:sldLayoutId id="2147483790" r:id="rId5"/>
    <p:sldLayoutId id="2147483791" r:id="rId6"/>
    <p:sldLayoutId id="2147483792" r:id="rId7"/>
    <p:sldLayoutId id="2147483793" r:id="rId8"/>
    <p:sldLayoutId id="2147483794" r:id="rId9"/>
    <p:sldLayoutId id="2147483875" r:id="rId10"/>
    <p:sldLayoutId id="2147483876" r:id="rId11"/>
    <p:sldLayoutId id="2147483877" r:id="rId12"/>
    <p:sldLayoutId id="2147483800" r:id="rId13"/>
    <p:sldLayoutId id="2147483698" r:id="rId14"/>
    <p:sldLayoutId id="2147483699" r:id="rId15"/>
    <p:sldLayoutId id="2147483946" r:id="rId16"/>
    <p:sldLayoutId id="2147483955" r:id="rId17"/>
    <p:sldLayoutId id="2147483956" r:id="rId18"/>
    <p:sldLayoutId id="2147483957" r:id="rId19"/>
    <p:sldLayoutId id="2147483958" r:id="rId20"/>
    <p:sldLayoutId id="2147483943" r:id="rId21"/>
  </p:sldLayoutIdLst>
  <p:hf sldNum="0" hdr="0" ft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20"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pic>
        <p:nvPicPr>
          <p:cNvPr id="7" name="Picture 6"/>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1204829223"/>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62" r:id="rId15"/>
    <p:sldLayoutId id="2147483963" r:id="rId16"/>
    <p:sldLayoutId id="2147483964" r:id="rId17"/>
    <p:sldLayoutId id="2147483965" r:id="rId18"/>
  </p:sldLayoutIdLst>
  <p:hf sldNum="0" hdr="0" ft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climate.ec.europa.eu/eu-action/funding-climate-action/innovation-fund/competitive-bidding_en#stakeholder-consultation-on-pilot-auction" TargetMode="Externa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1.emf"/><Relationship Id="rId7" Type="http://schemas.openxmlformats.org/officeDocument/2006/relationships/hyperlink" Target="https://bit.ly/2WxK8w7" TargetMode="External"/><Relationship Id="rId2" Type="http://schemas.openxmlformats.org/officeDocument/2006/relationships/hyperlink" Target="https://europa.eu/!QB67by" TargetMode="External"/><Relationship Id="rId1" Type="http://schemas.openxmlformats.org/officeDocument/2006/relationships/slideLayout" Target="../slideLayouts/slideLayout6.xml"/><Relationship Id="rId6" Type="http://schemas.openxmlformats.org/officeDocument/2006/relationships/image" Target="../media/image33.png"/><Relationship Id="rId11" Type="http://schemas.openxmlformats.org/officeDocument/2006/relationships/image" Target="../media/image37.png"/><Relationship Id="rId5" Type="http://schemas.openxmlformats.org/officeDocument/2006/relationships/image" Target="../media/image32.png"/><Relationship Id="rId10" Type="http://schemas.openxmlformats.org/officeDocument/2006/relationships/image" Target="../media/image36.png"/><Relationship Id="rId4" Type="http://schemas.openxmlformats.org/officeDocument/2006/relationships/hyperlink" Target="https://europa.eu/!rx34Dt" TargetMode="External"/><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7.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20.png"/><Relationship Id="rId5" Type="http://schemas.microsoft.com/office/2007/relationships/hdphoto" Target="../media/hdphoto1.wdp"/><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38285" y="1374881"/>
            <a:ext cx="10870686" cy="872647"/>
          </a:xfrm>
        </p:spPr>
        <p:txBody>
          <a:bodyPr>
            <a:noAutofit/>
          </a:bodyPr>
          <a:lstStyle/>
          <a:p>
            <a:r>
              <a:rPr lang="en-US" sz="4000" b="1" dirty="0" err="1"/>
              <a:t>REPowerEU</a:t>
            </a:r>
            <a:r>
              <a:rPr lang="en-US" sz="4000" b="1" dirty="0"/>
              <a:t> – financial opportunities for research and innovation</a:t>
            </a:r>
            <a:br>
              <a:rPr lang="en-US" sz="4000" b="1" dirty="0"/>
            </a:br>
            <a:endParaRPr lang="en-US" sz="4000" dirty="0"/>
          </a:p>
        </p:txBody>
      </p:sp>
      <p:sp>
        <p:nvSpPr>
          <p:cNvPr id="3" name="Subtitle 2"/>
          <p:cNvSpPr>
            <a:spLocks noGrp="1"/>
          </p:cNvSpPr>
          <p:nvPr>
            <p:ph type="subTitle" idx="1"/>
          </p:nvPr>
        </p:nvSpPr>
        <p:spPr>
          <a:xfrm>
            <a:off x="1038285" y="2623526"/>
            <a:ext cx="10863832" cy="1301503"/>
          </a:xfrm>
        </p:spPr>
        <p:txBody>
          <a:bodyPr lIns="91440" tIns="45720" rIns="91440" bIns="45720" anchor="t">
            <a:noAutofit/>
          </a:bodyPr>
          <a:lstStyle/>
          <a:p>
            <a:pPr>
              <a:spcAft>
                <a:spcPts val="600"/>
              </a:spcAft>
            </a:pPr>
            <a:r>
              <a:rPr lang="en-US" b="1" dirty="0"/>
              <a:t>EU ETS Innovation Fund</a:t>
            </a:r>
          </a:p>
          <a:p>
            <a:endParaRPr lang="en-US" sz="800" b="1" dirty="0">
              <a:solidFill>
                <a:schemeClr val="bg1"/>
              </a:solidFill>
              <a:cs typeface="Arial"/>
            </a:endParaRPr>
          </a:p>
          <a:p>
            <a:r>
              <a:rPr lang="en-US" sz="2000" b="1" dirty="0">
                <a:solidFill>
                  <a:schemeClr val="bg1"/>
                </a:solidFill>
                <a:cs typeface="Arial"/>
              </a:rPr>
              <a:t>Ewelina Daniel, DG Climate Action	</a:t>
            </a:r>
            <a:r>
              <a:rPr lang="en-US" sz="2000" dirty="0">
                <a:solidFill>
                  <a:schemeClr val="bg1"/>
                </a:solidFill>
                <a:cs typeface="Arial"/>
              </a:rPr>
              <a:t>				</a:t>
            </a:r>
            <a:r>
              <a:rPr lang="en-US" sz="2000" b="1" dirty="0">
                <a:solidFill>
                  <a:schemeClr val="bg1"/>
                </a:solidFill>
                <a:cs typeface="Arial"/>
              </a:rPr>
              <a:t>12 May 2023</a:t>
            </a:r>
          </a:p>
        </p:txBody>
      </p:sp>
    </p:spTree>
    <p:extLst>
      <p:ext uri="{BB962C8B-B14F-4D97-AF65-F5344CB8AC3E}">
        <p14:creationId xmlns:p14="http://schemas.microsoft.com/office/powerpoint/2010/main" val="488651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52713" y="1258334"/>
            <a:ext cx="6019801" cy="5309379"/>
          </a:xfrm>
        </p:spPr>
        <p:txBody>
          <a:bodyPr/>
          <a:lstStyle/>
          <a:p>
            <a:r>
              <a:rPr lang="en-IE" sz="2000" dirty="0"/>
              <a:t>Announcement in the State of the Energy Union in 2022 – link with </a:t>
            </a:r>
            <a:r>
              <a:rPr lang="en-IE" sz="2000" dirty="0" err="1"/>
              <a:t>RePowerEU</a:t>
            </a:r>
            <a:r>
              <a:rPr lang="en-IE" sz="2000" dirty="0"/>
              <a:t> objective of 20 Mt of renewable hydrogen</a:t>
            </a:r>
          </a:p>
          <a:p>
            <a:r>
              <a:rPr lang="en-IE" sz="2000" dirty="0"/>
              <a:t>European Hydrogen Bank communication adopted on 16 March 2023 together with Net Zero Industry Act</a:t>
            </a:r>
          </a:p>
          <a:p>
            <a:r>
              <a:rPr lang="en-IE" sz="2000" dirty="0"/>
              <a:t>EHB presents the structure of the initiative and key modalities of the first pilot auction for renewable hydrogen – to be financed by the Innovation Fund</a:t>
            </a:r>
          </a:p>
          <a:p>
            <a:r>
              <a:rPr lang="en-IE" sz="2000" dirty="0"/>
              <a:t>Timing confirmed of pilot domestic auction: autumn 2023</a:t>
            </a:r>
          </a:p>
          <a:p>
            <a:r>
              <a:rPr lang="en-IE" sz="2000" dirty="0">
                <a:hlinkClick r:id="rId2"/>
              </a:rPr>
              <a:t>Stakeholders consultation</a:t>
            </a:r>
            <a:r>
              <a:rPr lang="en-IE" sz="2000" dirty="0"/>
              <a:t> on pilot domestic auction </a:t>
            </a:r>
          </a:p>
        </p:txBody>
      </p:sp>
      <p:sp>
        <p:nvSpPr>
          <p:cNvPr id="3" name="Title 2"/>
          <p:cNvSpPr>
            <a:spLocks noGrp="1"/>
          </p:cNvSpPr>
          <p:nvPr>
            <p:ph type="title"/>
          </p:nvPr>
        </p:nvSpPr>
        <p:spPr>
          <a:xfrm>
            <a:off x="970721" y="323203"/>
            <a:ext cx="10651935" cy="782357"/>
          </a:xfrm>
        </p:spPr>
        <p:txBody>
          <a:bodyPr/>
          <a:lstStyle/>
          <a:p>
            <a:r>
              <a:rPr lang="en-IE" dirty="0"/>
              <a:t>European Hydrogen Bank</a:t>
            </a:r>
          </a:p>
        </p:txBody>
      </p:sp>
      <p:pic>
        <p:nvPicPr>
          <p:cNvPr id="4" name="Picture 3"/>
          <p:cNvPicPr>
            <a:picLocks noChangeAspect="1"/>
          </p:cNvPicPr>
          <p:nvPr/>
        </p:nvPicPr>
        <p:blipFill>
          <a:blip r:embed="rId3"/>
          <a:stretch>
            <a:fillRect/>
          </a:stretch>
        </p:blipFill>
        <p:spPr>
          <a:xfrm>
            <a:off x="7175056" y="2069415"/>
            <a:ext cx="4949986" cy="3129438"/>
          </a:xfrm>
          <a:prstGeom prst="rect">
            <a:avLst/>
          </a:prstGeom>
        </p:spPr>
      </p:pic>
    </p:spTree>
    <p:extLst>
      <p:ext uri="{BB962C8B-B14F-4D97-AF65-F5344CB8AC3E}">
        <p14:creationId xmlns:p14="http://schemas.microsoft.com/office/powerpoint/2010/main" val="17851003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 name="Rectangle 317"/>
          <p:cNvSpPr/>
          <p:nvPr/>
        </p:nvSpPr>
        <p:spPr>
          <a:xfrm>
            <a:off x="8429748" y="5204453"/>
            <a:ext cx="3743116" cy="16221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p:cNvSpPr>
            <a:spLocks noGrp="1"/>
          </p:cNvSpPr>
          <p:nvPr>
            <p:ph type="title"/>
          </p:nvPr>
        </p:nvSpPr>
        <p:spPr>
          <a:xfrm>
            <a:off x="990937" y="656786"/>
            <a:ext cx="10515600" cy="782357"/>
          </a:xfrm>
        </p:spPr>
        <p:txBody>
          <a:bodyPr/>
          <a:lstStyle/>
          <a:p>
            <a:r>
              <a:rPr lang="en-GB" dirty="0"/>
              <a:t>Market-based instrument with a lean procedure</a:t>
            </a:r>
            <a:endParaRPr lang="en-GB" dirty="0">
              <a:highlight>
                <a:srgbClr val="FFFF00"/>
              </a:highlight>
              <a:cs typeface="Arial"/>
            </a:endParaRPr>
          </a:p>
        </p:txBody>
      </p:sp>
      <p:grpSp>
        <p:nvGrpSpPr>
          <p:cNvPr id="322" name="Group 321"/>
          <p:cNvGrpSpPr/>
          <p:nvPr/>
        </p:nvGrpSpPr>
        <p:grpSpPr>
          <a:xfrm>
            <a:off x="7235735" y="1722655"/>
            <a:ext cx="1632287" cy="1925904"/>
            <a:chOff x="6337672" y="2067040"/>
            <a:chExt cx="1632287" cy="1925904"/>
          </a:xfrm>
        </p:grpSpPr>
        <p:sp>
          <p:nvSpPr>
            <p:cNvPr id="17" name="Rectangle: Rounded Corners 10">
              <a:extLst>
                <a:ext uri="{FF2B5EF4-FFF2-40B4-BE49-F238E27FC236}">
                  <a16:creationId xmlns:a16="http://schemas.microsoft.com/office/drawing/2014/main" id="{A07E1A24-ED95-D733-2974-E2ED8C6FBD98}"/>
                </a:ext>
              </a:extLst>
            </p:cNvPr>
            <p:cNvSpPr/>
            <p:nvPr/>
          </p:nvSpPr>
          <p:spPr>
            <a:xfrm>
              <a:off x="6363604" y="2067040"/>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31" name="TextBox 30">
              <a:extLst>
                <a:ext uri="{FF2B5EF4-FFF2-40B4-BE49-F238E27FC236}">
                  <a16:creationId xmlns:a16="http://schemas.microsoft.com/office/drawing/2014/main" id="{C0EBDB6D-D88D-136B-660F-F4CA3593DCB8}"/>
                </a:ext>
              </a:extLst>
            </p:cNvPr>
            <p:cNvSpPr txBox="1"/>
            <p:nvPr/>
          </p:nvSpPr>
          <p:spPr>
            <a:xfrm>
              <a:off x="6600858" y="3304630"/>
              <a:ext cx="1081995" cy="430887"/>
            </a:xfrm>
            <a:prstGeom prst="rect">
              <a:avLst/>
            </a:prstGeom>
            <a:noFill/>
          </p:spPr>
          <p:txBody>
            <a:bodyPr wrap="square">
              <a:spAutoFit/>
            </a:bodyPr>
            <a:lstStyle/>
            <a:p>
              <a:pPr marR="0" lvl="0" algn="ctr">
                <a:spcBef>
                  <a:spcPts val="0"/>
                </a:spcBef>
                <a:spcAft>
                  <a:spcPts val="0"/>
                </a:spcAft>
              </a:pPr>
              <a:r>
                <a:rPr lang="en-US" sz="1100">
                  <a:ea typeface="Times New Roman" panose="02020603050405020304" pitchFamily="18" charset="0"/>
                </a:rPr>
                <a:t>Auction</a:t>
              </a:r>
              <a:r>
                <a:rPr lang="en-US" sz="1100">
                  <a:effectLst/>
                  <a:ea typeface="Times New Roman" panose="02020603050405020304" pitchFamily="18" charset="0"/>
                </a:rPr>
                <a:t> </a:t>
              </a:r>
              <a:r>
                <a:rPr lang="en-US" sz="1100">
                  <a:ea typeface="Times New Roman" panose="02020603050405020304" pitchFamily="18" charset="0"/>
                </a:rPr>
                <a:t>is cleared </a:t>
              </a:r>
              <a:endParaRPr lang="en-US" sz="1100">
                <a:effectLst/>
                <a:ea typeface="Times New Roman" panose="02020603050405020304" pitchFamily="18" charset="0"/>
              </a:endParaRPr>
            </a:p>
          </p:txBody>
        </p:sp>
        <p:sp>
          <p:nvSpPr>
            <p:cNvPr id="38" name="Titel 1">
              <a:extLst>
                <a:ext uri="{FF2B5EF4-FFF2-40B4-BE49-F238E27FC236}">
                  <a16:creationId xmlns:a16="http://schemas.microsoft.com/office/drawing/2014/main" id="{070EFA23-5C5C-15AF-91E6-8405B16ECFC5}"/>
                </a:ext>
              </a:extLst>
            </p:cNvPr>
            <p:cNvSpPr txBox="1">
              <a:spLocks/>
            </p:cNvSpPr>
            <p:nvPr/>
          </p:nvSpPr>
          <p:spPr>
            <a:xfrm>
              <a:off x="6337672" y="2131037"/>
              <a:ext cx="438912"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4</a:t>
              </a:r>
            </a:p>
          </p:txBody>
        </p:sp>
        <p:grpSp>
          <p:nvGrpSpPr>
            <p:cNvPr id="44" name="Group 43">
              <a:extLst>
                <a:ext uri="{FF2B5EF4-FFF2-40B4-BE49-F238E27FC236}">
                  <a16:creationId xmlns:a16="http://schemas.microsoft.com/office/drawing/2014/main" id="{752BAC6B-3DF4-5165-D5E4-98C4667A7988}"/>
                </a:ext>
              </a:extLst>
            </p:cNvPr>
            <p:cNvGrpSpPr/>
            <p:nvPr/>
          </p:nvGrpSpPr>
          <p:grpSpPr>
            <a:xfrm>
              <a:off x="6723781" y="2469934"/>
              <a:ext cx="914011" cy="592565"/>
              <a:chOff x="9178850" y="2144255"/>
              <a:chExt cx="1973904" cy="1279706"/>
            </a:xfrm>
          </p:grpSpPr>
          <p:grpSp>
            <p:nvGrpSpPr>
              <p:cNvPr id="45" name="Group 44">
                <a:extLst>
                  <a:ext uri="{FF2B5EF4-FFF2-40B4-BE49-F238E27FC236}">
                    <a16:creationId xmlns:a16="http://schemas.microsoft.com/office/drawing/2014/main" id="{DCD26857-1333-7360-9AF4-AC27986086DC}"/>
                  </a:ext>
                </a:extLst>
              </p:cNvPr>
              <p:cNvGrpSpPr/>
              <p:nvPr/>
            </p:nvGrpSpPr>
            <p:grpSpPr>
              <a:xfrm rot="18602459">
                <a:off x="9844348" y="1789488"/>
                <a:ext cx="953639" cy="1663173"/>
                <a:chOff x="6471186" y="2450515"/>
                <a:chExt cx="953639" cy="1663173"/>
              </a:xfrm>
            </p:grpSpPr>
            <p:sp>
              <p:nvSpPr>
                <p:cNvPr id="49" name="Rectangle: Rounded Corners 158">
                  <a:extLst>
                    <a:ext uri="{FF2B5EF4-FFF2-40B4-BE49-F238E27FC236}">
                      <a16:creationId xmlns:a16="http://schemas.microsoft.com/office/drawing/2014/main" id="{F1FF66B4-6BA4-AB23-292C-9B2DA5C10064}"/>
                    </a:ext>
                  </a:extLst>
                </p:cNvPr>
                <p:cNvSpPr/>
                <p:nvPr/>
              </p:nvSpPr>
              <p:spPr>
                <a:xfrm>
                  <a:off x="6847222" y="3004833"/>
                  <a:ext cx="194981" cy="1108855"/>
                </a:xfrm>
                <a:prstGeom prst="round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50" name="Rectangle: Rounded Corners 159">
                  <a:extLst>
                    <a:ext uri="{FF2B5EF4-FFF2-40B4-BE49-F238E27FC236}">
                      <a16:creationId xmlns:a16="http://schemas.microsoft.com/office/drawing/2014/main" id="{F497D3C9-EB89-05E0-D93A-FE03231D981E}"/>
                    </a:ext>
                  </a:extLst>
                </p:cNvPr>
                <p:cNvSpPr/>
                <p:nvPr/>
              </p:nvSpPr>
              <p:spPr>
                <a:xfrm flipH="1">
                  <a:off x="6528017" y="2521713"/>
                  <a:ext cx="833391" cy="577363"/>
                </a:xfrm>
                <a:prstGeom prst="round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51" name="Rectangle: Rounded Corners 160">
                  <a:extLst>
                    <a:ext uri="{FF2B5EF4-FFF2-40B4-BE49-F238E27FC236}">
                      <a16:creationId xmlns:a16="http://schemas.microsoft.com/office/drawing/2014/main" id="{286AEB0A-0AAE-D4AD-697B-030D471D8A58}"/>
                    </a:ext>
                  </a:extLst>
                </p:cNvPr>
                <p:cNvSpPr/>
                <p:nvPr/>
              </p:nvSpPr>
              <p:spPr>
                <a:xfrm flipH="1">
                  <a:off x="6816831" y="3080663"/>
                  <a:ext cx="255762" cy="137740"/>
                </a:xfrm>
                <a:prstGeom prst="round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52" name="Rectangle: Rounded Corners 163">
                  <a:extLst>
                    <a:ext uri="{FF2B5EF4-FFF2-40B4-BE49-F238E27FC236}">
                      <a16:creationId xmlns:a16="http://schemas.microsoft.com/office/drawing/2014/main" id="{F4119488-DA64-242E-813B-997FDD4D6186}"/>
                    </a:ext>
                  </a:extLst>
                </p:cNvPr>
                <p:cNvSpPr/>
                <p:nvPr/>
              </p:nvSpPr>
              <p:spPr>
                <a:xfrm flipH="1">
                  <a:off x="6471186" y="2450515"/>
                  <a:ext cx="134198" cy="719938"/>
                </a:xfrm>
                <a:prstGeom prst="round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53" name="Rectangle: Rounded Corners 164">
                  <a:extLst>
                    <a:ext uri="{FF2B5EF4-FFF2-40B4-BE49-F238E27FC236}">
                      <a16:creationId xmlns:a16="http://schemas.microsoft.com/office/drawing/2014/main" id="{7E5C20A9-743F-DB80-B28F-26D448267DB4}"/>
                    </a:ext>
                  </a:extLst>
                </p:cNvPr>
                <p:cNvSpPr/>
                <p:nvPr/>
              </p:nvSpPr>
              <p:spPr>
                <a:xfrm flipH="1">
                  <a:off x="7290627" y="2450515"/>
                  <a:ext cx="134198" cy="719938"/>
                </a:xfrm>
                <a:prstGeom prst="round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grpSp>
            <p:nvGrpSpPr>
              <p:cNvPr id="46" name="Group 45">
                <a:extLst>
                  <a:ext uri="{FF2B5EF4-FFF2-40B4-BE49-F238E27FC236}">
                    <a16:creationId xmlns:a16="http://schemas.microsoft.com/office/drawing/2014/main" id="{B8DFCD30-BC08-E3D5-3850-0A23B6F81BAD}"/>
                  </a:ext>
                </a:extLst>
              </p:cNvPr>
              <p:cNvGrpSpPr/>
              <p:nvPr/>
            </p:nvGrpSpPr>
            <p:grpSpPr>
              <a:xfrm>
                <a:off x="9178850" y="3185001"/>
                <a:ext cx="1065296" cy="238960"/>
                <a:chOff x="6314643" y="2838145"/>
                <a:chExt cx="1393379" cy="312556"/>
              </a:xfrm>
            </p:grpSpPr>
            <p:sp>
              <p:nvSpPr>
                <p:cNvPr id="47" name="Rectangle: Rounded Corners 156">
                  <a:extLst>
                    <a:ext uri="{FF2B5EF4-FFF2-40B4-BE49-F238E27FC236}">
                      <a16:creationId xmlns:a16="http://schemas.microsoft.com/office/drawing/2014/main" id="{FA69FDED-4253-A1C5-67CD-F7AE9F695B5C}"/>
                    </a:ext>
                  </a:extLst>
                </p:cNvPr>
                <p:cNvSpPr/>
                <p:nvPr/>
              </p:nvSpPr>
              <p:spPr>
                <a:xfrm>
                  <a:off x="6463265" y="2838145"/>
                  <a:ext cx="1096135" cy="198706"/>
                </a:xfrm>
                <a:prstGeom prst="round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48" name="Rectangle: Rounded Corners 157">
                  <a:extLst>
                    <a:ext uri="{FF2B5EF4-FFF2-40B4-BE49-F238E27FC236}">
                      <a16:creationId xmlns:a16="http://schemas.microsoft.com/office/drawing/2014/main" id="{0E64E6C7-7447-81F4-DE00-65A79569CC38}"/>
                    </a:ext>
                  </a:extLst>
                </p:cNvPr>
                <p:cNvSpPr/>
                <p:nvPr/>
              </p:nvSpPr>
              <p:spPr>
                <a:xfrm>
                  <a:off x="6314643" y="3021624"/>
                  <a:ext cx="1393379" cy="129077"/>
                </a:xfrm>
                <a:prstGeom prst="round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grpSp>
      </p:grpSp>
      <p:grpSp>
        <p:nvGrpSpPr>
          <p:cNvPr id="319" name="Group 318"/>
          <p:cNvGrpSpPr/>
          <p:nvPr/>
        </p:nvGrpSpPr>
        <p:grpSpPr>
          <a:xfrm>
            <a:off x="1024248" y="1730801"/>
            <a:ext cx="1631794" cy="1925904"/>
            <a:chOff x="774290" y="2071308"/>
            <a:chExt cx="1631794" cy="1925904"/>
          </a:xfrm>
        </p:grpSpPr>
        <p:sp>
          <p:nvSpPr>
            <p:cNvPr id="14" name="Rectangle: Rounded Corners 4">
              <a:extLst>
                <a:ext uri="{FF2B5EF4-FFF2-40B4-BE49-F238E27FC236}">
                  <a16:creationId xmlns:a16="http://schemas.microsoft.com/office/drawing/2014/main" id="{66B64E4B-E376-F92F-C3BE-8A278537ECDC}"/>
                </a:ext>
              </a:extLst>
            </p:cNvPr>
            <p:cNvSpPr/>
            <p:nvPr/>
          </p:nvSpPr>
          <p:spPr>
            <a:xfrm>
              <a:off x="791750" y="2071308"/>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6" name="Titel 1">
              <a:extLst>
                <a:ext uri="{FF2B5EF4-FFF2-40B4-BE49-F238E27FC236}">
                  <a16:creationId xmlns:a16="http://schemas.microsoft.com/office/drawing/2014/main" id="{1C51D79B-07FD-EEB9-2452-965DFB42A1AC}"/>
                </a:ext>
              </a:extLst>
            </p:cNvPr>
            <p:cNvSpPr txBox="1">
              <a:spLocks/>
            </p:cNvSpPr>
            <p:nvPr/>
          </p:nvSpPr>
          <p:spPr>
            <a:xfrm>
              <a:off x="792578" y="2131037"/>
              <a:ext cx="438912"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1</a:t>
              </a:r>
            </a:p>
          </p:txBody>
        </p:sp>
        <p:sp>
          <p:nvSpPr>
            <p:cNvPr id="28" name="TextBox 27">
              <a:extLst>
                <a:ext uri="{FF2B5EF4-FFF2-40B4-BE49-F238E27FC236}">
                  <a16:creationId xmlns:a16="http://schemas.microsoft.com/office/drawing/2014/main" id="{4D8ADA73-7A5C-8290-7370-6115D2505F4C}"/>
                </a:ext>
              </a:extLst>
            </p:cNvPr>
            <p:cNvSpPr txBox="1"/>
            <p:nvPr/>
          </p:nvSpPr>
          <p:spPr>
            <a:xfrm>
              <a:off x="774290" y="3290059"/>
              <a:ext cx="1631794" cy="600164"/>
            </a:xfrm>
            <a:prstGeom prst="rect">
              <a:avLst/>
            </a:prstGeom>
            <a:noFill/>
          </p:spPr>
          <p:txBody>
            <a:bodyPr wrap="square">
              <a:spAutoFit/>
            </a:bodyPr>
            <a:lstStyle/>
            <a:p>
              <a:pPr marR="0" lvl="0" algn="ctr">
                <a:spcBef>
                  <a:spcPts val="0"/>
                </a:spcBef>
                <a:spcAft>
                  <a:spcPts val="0"/>
                </a:spcAft>
              </a:pPr>
              <a:r>
                <a:rPr lang="en-US" sz="1100" kern="1100">
                  <a:effectLst/>
                  <a:ea typeface="Times New Roman" panose="02020603050405020304" pitchFamily="18" charset="0"/>
                </a:rPr>
                <a:t>CLIMA prepares &amp; publishes an </a:t>
              </a:r>
            </a:p>
            <a:p>
              <a:pPr marR="0" lvl="0" algn="ctr">
                <a:spcBef>
                  <a:spcPts val="0"/>
                </a:spcBef>
                <a:spcAft>
                  <a:spcPts val="0"/>
                </a:spcAft>
              </a:pPr>
              <a:r>
                <a:rPr lang="en-US" sz="1100" kern="1100">
                  <a:effectLst/>
                  <a:ea typeface="Times New Roman" panose="02020603050405020304" pitchFamily="18" charset="0"/>
                </a:rPr>
                <a:t>auction call</a:t>
              </a:r>
              <a:endParaRPr lang="en-US" sz="1100" kern="1100">
                <a:effectLst/>
                <a:ea typeface="Calibri" panose="020F0502020204030204" pitchFamily="34" charset="0"/>
              </a:endParaRPr>
            </a:p>
          </p:txBody>
        </p:sp>
        <p:grpSp>
          <p:nvGrpSpPr>
            <p:cNvPr id="54" name="Group 53">
              <a:extLst>
                <a:ext uri="{FF2B5EF4-FFF2-40B4-BE49-F238E27FC236}">
                  <a16:creationId xmlns:a16="http://schemas.microsoft.com/office/drawing/2014/main" id="{82AFB634-5A12-2C09-C864-51D15FAAD738}"/>
                </a:ext>
              </a:extLst>
            </p:cNvPr>
            <p:cNvGrpSpPr/>
            <p:nvPr/>
          </p:nvGrpSpPr>
          <p:grpSpPr>
            <a:xfrm rot="19854820">
              <a:off x="1164349" y="2425739"/>
              <a:ext cx="909072" cy="685556"/>
              <a:chOff x="3200098" y="7418290"/>
              <a:chExt cx="1880946" cy="1317149"/>
            </a:xfrm>
          </p:grpSpPr>
          <p:grpSp>
            <p:nvGrpSpPr>
              <p:cNvPr id="55" name="Group 54">
                <a:extLst>
                  <a:ext uri="{FF2B5EF4-FFF2-40B4-BE49-F238E27FC236}">
                    <a16:creationId xmlns:a16="http://schemas.microsoft.com/office/drawing/2014/main" id="{9112C000-E929-9A43-FD71-35ADC0175C5F}"/>
                  </a:ext>
                </a:extLst>
              </p:cNvPr>
              <p:cNvGrpSpPr/>
              <p:nvPr/>
            </p:nvGrpSpPr>
            <p:grpSpPr>
              <a:xfrm>
                <a:off x="3200098" y="7418290"/>
                <a:ext cx="1156373" cy="1317149"/>
                <a:chOff x="3200098" y="7418290"/>
                <a:chExt cx="1156373" cy="1317149"/>
              </a:xfrm>
            </p:grpSpPr>
            <p:sp>
              <p:nvSpPr>
                <p:cNvPr id="59" name="Oval 58">
                  <a:extLst>
                    <a:ext uri="{FF2B5EF4-FFF2-40B4-BE49-F238E27FC236}">
                      <a16:creationId xmlns:a16="http://schemas.microsoft.com/office/drawing/2014/main" id="{A061413F-EE6B-707F-0D5B-1710DFA8DD4C}"/>
                    </a:ext>
                  </a:extLst>
                </p:cNvPr>
                <p:cNvSpPr/>
                <p:nvPr/>
              </p:nvSpPr>
              <p:spPr>
                <a:xfrm>
                  <a:off x="4057946" y="7785142"/>
                  <a:ext cx="298525" cy="298525"/>
                </a:xfrm>
                <a:prstGeom prst="ellipse">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60" name="Rectangle: Rounded Corners 10">
                  <a:extLst>
                    <a:ext uri="{FF2B5EF4-FFF2-40B4-BE49-F238E27FC236}">
                      <a16:creationId xmlns:a16="http://schemas.microsoft.com/office/drawing/2014/main" id="{EE68B9CB-57F5-0182-6FF2-0CE1CD40EEEA}"/>
                    </a:ext>
                  </a:extLst>
                </p:cNvPr>
                <p:cNvSpPr/>
                <p:nvPr/>
              </p:nvSpPr>
              <p:spPr>
                <a:xfrm>
                  <a:off x="3426361" y="7443158"/>
                  <a:ext cx="780848" cy="943583"/>
                </a:xfrm>
                <a:custGeom>
                  <a:avLst/>
                  <a:gdLst>
                    <a:gd name="connsiteX0" fmla="*/ 0 w 1413933"/>
                    <a:gd name="connsiteY0" fmla="*/ 157267 h 943583"/>
                    <a:gd name="connsiteX1" fmla="*/ 157267 w 1413933"/>
                    <a:gd name="connsiteY1" fmla="*/ 0 h 943583"/>
                    <a:gd name="connsiteX2" fmla="*/ 1256666 w 1413933"/>
                    <a:gd name="connsiteY2" fmla="*/ 0 h 943583"/>
                    <a:gd name="connsiteX3" fmla="*/ 1413933 w 1413933"/>
                    <a:gd name="connsiteY3" fmla="*/ 157267 h 943583"/>
                    <a:gd name="connsiteX4" fmla="*/ 1413933 w 1413933"/>
                    <a:gd name="connsiteY4" fmla="*/ 786316 h 943583"/>
                    <a:gd name="connsiteX5" fmla="*/ 1256666 w 1413933"/>
                    <a:gd name="connsiteY5" fmla="*/ 943583 h 943583"/>
                    <a:gd name="connsiteX6" fmla="*/ 157267 w 1413933"/>
                    <a:gd name="connsiteY6" fmla="*/ 943583 h 943583"/>
                    <a:gd name="connsiteX7" fmla="*/ 0 w 1413933"/>
                    <a:gd name="connsiteY7" fmla="*/ 786316 h 943583"/>
                    <a:gd name="connsiteX8" fmla="*/ 0 w 1413933"/>
                    <a:gd name="connsiteY8" fmla="*/ 157267 h 943583"/>
                    <a:gd name="connsiteX0" fmla="*/ 9728 w 1423661"/>
                    <a:gd name="connsiteY0" fmla="*/ 157267 h 943583"/>
                    <a:gd name="connsiteX1" fmla="*/ 166995 w 1423661"/>
                    <a:gd name="connsiteY1" fmla="*/ 0 h 943583"/>
                    <a:gd name="connsiteX2" fmla="*/ 1266394 w 1423661"/>
                    <a:gd name="connsiteY2" fmla="*/ 0 h 943583"/>
                    <a:gd name="connsiteX3" fmla="*/ 1423661 w 1423661"/>
                    <a:gd name="connsiteY3" fmla="*/ 157267 h 943583"/>
                    <a:gd name="connsiteX4" fmla="*/ 1423661 w 1423661"/>
                    <a:gd name="connsiteY4" fmla="*/ 786316 h 943583"/>
                    <a:gd name="connsiteX5" fmla="*/ 1266394 w 1423661"/>
                    <a:gd name="connsiteY5" fmla="*/ 943583 h 943583"/>
                    <a:gd name="connsiteX6" fmla="*/ 166995 w 1423661"/>
                    <a:gd name="connsiteY6" fmla="*/ 943583 h 943583"/>
                    <a:gd name="connsiteX7" fmla="*/ 0 w 1423661"/>
                    <a:gd name="connsiteY7" fmla="*/ 533397 h 943583"/>
                    <a:gd name="connsiteX8" fmla="*/ 9728 w 1423661"/>
                    <a:gd name="connsiteY8" fmla="*/ 157267 h 943583"/>
                    <a:gd name="connsiteX0" fmla="*/ 27521 w 1441454"/>
                    <a:gd name="connsiteY0" fmla="*/ 157267 h 943583"/>
                    <a:gd name="connsiteX1" fmla="*/ 184788 w 1441454"/>
                    <a:gd name="connsiteY1" fmla="*/ 0 h 943583"/>
                    <a:gd name="connsiteX2" fmla="*/ 1284187 w 1441454"/>
                    <a:gd name="connsiteY2" fmla="*/ 0 h 943583"/>
                    <a:gd name="connsiteX3" fmla="*/ 1441454 w 1441454"/>
                    <a:gd name="connsiteY3" fmla="*/ 157267 h 943583"/>
                    <a:gd name="connsiteX4" fmla="*/ 1441454 w 1441454"/>
                    <a:gd name="connsiteY4" fmla="*/ 786316 h 943583"/>
                    <a:gd name="connsiteX5" fmla="*/ 1284187 w 1441454"/>
                    <a:gd name="connsiteY5" fmla="*/ 943583 h 943583"/>
                    <a:gd name="connsiteX6" fmla="*/ 48600 w 1441454"/>
                    <a:gd name="connsiteY6" fmla="*/ 554477 h 943583"/>
                    <a:gd name="connsiteX7" fmla="*/ 17793 w 1441454"/>
                    <a:gd name="connsiteY7" fmla="*/ 533397 h 943583"/>
                    <a:gd name="connsiteX8" fmla="*/ 27521 w 1441454"/>
                    <a:gd name="connsiteY8" fmla="*/ 157267 h 943583"/>
                    <a:gd name="connsiteX0" fmla="*/ 0 w 1443116"/>
                    <a:gd name="connsiteY0" fmla="*/ 497735 h 943583"/>
                    <a:gd name="connsiteX1" fmla="*/ 186450 w 1443116"/>
                    <a:gd name="connsiteY1" fmla="*/ 0 h 943583"/>
                    <a:gd name="connsiteX2" fmla="*/ 1285849 w 1443116"/>
                    <a:gd name="connsiteY2" fmla="*/ 0 h 943583"/>
                    <a:gd name="connsiteX3" fmla="*/ 1443116 w 1443116"/>
                    <a:gd name="connsiteY3" fmla="*/ 157267 h 943583"/>
                    <a:gd name="connsiteX4" fmla="*/ 1443116 w 1443116"/>
                    <a:gd name="connsiteY4" fmla="*/ 786316 h 943583"/>
                    <a:gd name="connsiteX5" fmla="*/ 1285849 w 1443116"/>
                    <a:gd name="connsiteY5" fmla="*/ 943583 h 943583"/>
                    <a:gd name="connsiteX6" fmla="*/ 50262 w 1443116"/>
                    <a:gd name="connsiteY6" fmla="*/ 554477 h 943583"/>
                    <a:gd name="connsiteX7" fmla="*/ 19455 w 1443116"/>
                    <a:gd name="connsiteY7" fmla="*/ 533397 h 943583"/>
                    <a:gd name="connsiteX8" fmla="*/ 0 w 1443116"/>
                    <a:gd name="connsiteY8" fmla="*/ 497735 h 943583"/>
                    <a:gd name="connsiteX0" fmla="*/ 12338 w 1455454"/>
                    <a:gd name="connsiteY0" fmla="*/ 497735 h 943583"/>
                    <a:gd name="connsiteX1" fmla="*/ 52873 w 1455454"/>
                    <a:gd name="connsiteY1" fmla="*/ 466927 h 943583"/>
                    <a:gd name="connsiteX2" fmla="*/ 1298187 w 1455454"/>
                    <a:gd name="connsiteY2" fmla="*/ 0 h 943583"/>
                    <a:gd name="connsiteX3" fmla="*/ 1455454 w 1455454"/>
                    <a:gd name="connsiteY3" fmla="*/ 157267 h 943583"/>
                    <a:gd name="connsiteX4" fmla="*/ 1455454 w 1455454"/>
                    <a:gd name="connsiteY4" fmla="*/ 786316 h 943583"/>
                    <a:gd name="connsiteX5" fmla="*/ 1298187 w 1455454"/>
                    <a:gd name="connsiteY5" fmla="*/ 943583 h 943583"/>
                    <a:gd name="connsiteX6" fmla="*/ 62600 w 1455454"/>
                    <a:gd name="connsiteY6" fmla="*/ 554477 h 943583"/>
                    <a:gd name="connsiteX7" fmla="*/ 31793 w 1455454"/>
                    <a:gd name="connsiteY7" fmla="*/ 533397 h 943583"/>
                    <a:gd name="connsiteX8" fmla="*/ 12338 w 1455454"/>
                    <a:gd name="connsiteY8" fmla="*/ 497735 h 943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5454" h="943583">
                      <a:moveTo>
                        <a:pt x="12338" y="497735"/>
                      </a:moveTo>
                      <a:cubicBezTo>
                        <a:pt x="12338" y="410879"/>
                        <a:pt x="-33983" y="466927"/>
                        <a:pt x="52873" y="466927"/>
                      </a:cubicBezTo>
                      <a:lnTo>
                        <a:pt x="1298187" y="0"/>
                      </a:lnTo>
                      <a:cubicBezTo>
                        <a:pt x="1385043" y="0"/>
                        <a:pt x="1455454" y="70411"/>
                        <a:pt x="1455454" y="157267"/>
                      </a:cubicBezTo>
                      <a:lnTo>
                        <a:pt x="1455454" y="786316"/>
                      </a:lnTo>
                      <a:cubicBezTo>
                        <a:pt x="1455454" y="873172"/>
                        <a:pt x="1385043" y="943583"/>
                        <a:pt x="1298187" y="943583"/>
                      </a:cubicBezTo>
                      <a:lnTo>
                        <a:pt x="62600" y="554477"/>
                      </a:lnTo>
                      <a:cubicBezTo>
                        <a:pt x="-24256" y="554477"/>
                        <a:pt x="31793" y="620253"/>
                        <a:pt x="31793" y="533397"/>
                      </a:cubicBezTo>
                      <a:cubicBezTo>
                        <a:pt x="31793" y="323714"/>
                        <a:pt x="12338" y="707418"/>
                        <a:pt x="12338" y="497735"/>
                      </a:cubicBezTo>
                      <a:close/>
                    </a:path>
                  </a:pathLst>
                </a:cu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61" name="Rectangle: Rounded Corners 172">
                  <a:extLst>
                    <a:ext uri="{FF2B5EF4-FFF2-40B4-BE49-F238E27FC236}">
                      <a16:creationId xmlns:a16="http://schemas.microsoft.com/office/drawing/2014/main" id="{5B2D7125-19B0-1261-517A-9B0F9D79BF2D}"/>
                    </a:ext>
                  </a:extLst>
                </p:cNvPr>
                <p:cNvSpPr/>
                <p:nvPr/>
              </p:nvSpPr>
              <p:spPr>
                <a:xfrm flipH="1">
                  <a:off x="4072839" y="7418290"/>
                  <a:ext cx="135410" cy="1007363"/>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62" name="Rectangle: Rounded Corners 173">
                  <a:extLst>
                    <a:ext uri="{FF2B5EF4-FFF2-40B4-BE49-F238E27FC236}">
                      <a16:creationId xmlns:a16="http://schemas.microsoft.com/office/drawing/2014/main" id="{4D7E0D42-86DD-553A-6786-3EABF569D76E}"/>
                    </a:ext>
                  </a:extLst>
                </p:cNvPr>
                <p:cNvSpPr/>
                <p:nvPr/>
              </p:nvSpPr>
              <p:spPr>
                <a:xfrm>
                  <a:off x="3325144" y="7931283"/>
                  <a:ext cx="171419" cy="804156"/>
                </a:xfrm>
                <a:prstGeom prst="round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63" name="Rectangle: Rounded Corners 174">
                  <a:extLst>
                    <a:ext uri="{FF2B5EF4-FFF2-40B4-BE49-F238E27FC236}">
                      <a16:creationId xmlns:a16="http://schemas.microsoft.com/office/drawing/2014/main" id="{AAA2BBB5-ABED-DC10-5C49-A80BDA9C1B20}"/>
                    </a:ext>
                  </a:extLst>
                </p:cNvPr>
                <p:cNvSpPr/>
                <p:nvPr/>
              </p:nvSpPr>
              <p:spPr>
                <a:xfrm>
                  <a:off x="3477544" y="8083683"/>
                  <a:ext cx="171419" cy="303058"/>
                </a:xfrm>
                <a:prstGeom prst="roundRect">
                  <a:avLst/>
                </a:pr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64" name="Rectangle: Rounded Corners 175">
                  <a:extLst>
                    <a:ext uri="{FF2B5EF4-FFF2-40B4-BE49-F238E27FC236}">
                      <a16:creationId xmlns:a16="http://schemas.microsoft.com/office/drawing/2014/main" id="{B1A01E9D-9AC3-2B70-0FE9-D3B60E8F763A}"/>
                    </a:ext>
                  </a:extLst>
                </p:cNvPr>
                <p:cNvSpPr/>
                <p:nvPr/>
              </p:nvSpPr>
              <p:spPr>
                <a:xfrm>
                  <a:off x="3226859" y="7675754"/>
                  <a:ext cx="467392" cy="536760"/>
                </a:xfrm>
                <a:prstGeom prst="roundRect">
                  <a:avLst/>
                </a:prstGeom>
                <a:solidFill>
                  <a:schemeClr val="accent5">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65" name="Rectangle: Rounded Corners 176">
                  <a:extLst>
                    <a:ext uri="{FF2B5EF4-FFF2-40B4-BE49-F238E27FC236}">
                      <a16:creationId xmlns:a16="http://schemas.microsoft.com/office/drawing/2014/main" id="{1F63CBFD-E23D-767A-A7CF-556BAEDFF41D}"/>
                    </a:ext>
                  </a:extLst>
                </p:cNvPr>
                <p:cNvSpPr/>
                <p:nvPr/>
              </p:nvSpPr>
              <p:spPr>
                <a:xfrm flipH="1">
                  <a:off x="3200098" y="7650466"/>
                  <a:ext cx="140960" cy="561633"/>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cxnSp>
            <p:nvCxnSpPr>
              <p:cNvPr id="56" name="Straight Connector 55">
                <a:extLst>
                  <a:ext uri="{FF2B5EF4-FFF2-40B4-BE49-F238E27FC236}">
                    <a16:creationId xmlns:a16="http://schemas.microsoft.com/office/drawing/2014/main" id="{25BCD67D-7B8E-9162-3D31-77876916A163}"/>
                  </a:ext>
                </a:extLst>
              </p:cNvPr>
              <p:cNvCxnSpPr>
                <a:cxnSpLocks/>
              </p:cNvCxnSpPr>
              <p:nvPr/>
            </p:nvCxnSpPr>
            <p:spPr>
              <a:xfrm flipV="1">
                <a:off x="4433740" y="7418290"/>
                <a:ext cx="507877" cy="306313"/>
              </a:xfrm>
              <a:prstGeom prst="line">
                <a:avLst/>
              </a:prstGeom>
              <a:ln w="38100">
                <a:solidFill>
                  <a:srgbClr val="FDB91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E6FE694-5144-6013-E9BE-2DE2C0E236A0}"/>
                  </a:ext>
                </a:extLst>
              </p:cNvPr>
              <p:cNvCxnSpPr>
                <a:cxnSpLocks/>
              </p:cNvCxnSpPr>
              <p:nvPr/>
            </p:nvCxnSpPr>
            <p:spPr>
              <a:xfrm>
                <a:off x="4479549" y="7921971"/>
                <a:ext cx="601495" cy="0"/>
              </a:xfrm>
              <a:prstGeom prst="line">
                <a:avLst/>
              </a:prstGeom>
              <a:ln w="38100">
                <a:solidFill>
                  <a:srgbClr val="FDB91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7722A5A-0904-1458-0799-95703AFF4B48}"/>
                  </a:ext>
                </a:extLst>
              </p:cNvPr>
              <p:cNvCxnSpPr>
                <a:cxnSpLocks/>
              </p:cNvCxnSpPr>
              <p:nvPr/>
            </p:nvCxnSpPr>
            <p:spPr>
              <a:xfrm>
                <a:off x="4456519" y="8129277"/>
                <a:ext cx="485098" cy="257464"/>
              </a:xfrm>
              <a:prstGeom prst="line">
                <a:avLst/>
              </a:prstGeom>
              <a:ln w="38100">
                <a:solidFill>
                  <a:srgbClr val="FDB91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324" name="Group 323"/>
          <p:cNvGrpSpPr/>
          <p:nvPr/>
        </p:nvGrpSpPr>
        <p:grpSpPr>
          <a:xfrm>
            <a:off x="1041708" y="4326359"/>
            <a:ext cx="1646130" cy="1925904"/>
            <a:chOff x="819570" y="4521259"/>
            <a:chExt cx="1646130" cy="1925904"/>
          </a:xfrm>
        </p:grpSpPr>
        <p:sp>
          <p:nvSpPr>
            <p:cNvPr id="20" name="Rectangle: Rounded Corners 22">
              <a:extLst>
                <a:ext uri="{FF2B5EF4-FFF2-40B4-BE49-F238E27FC236}">
                  <a16:creationId xmlns:a16="http://schemas.microsoft.com/office/drawing/2014/main" id="{C74B710A-53A6-FF2B-2192-2A380819FBBB}"/>
                </a:ext>
              </a:extLst>
            </p:cNvPr>
            <p:cNvSpPr/>
            <p:nvPr/>
          </p:nvSpPr>
          <p:spPr>
            <a:xfrm>
              <a:off x="819570" y="4521259"/>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33" name="TextBox 32">
              <a:extLst>
                <a:ext uri="{FF2B5EF4-FFF2-40B4-BE49-F238E27FC236}">
                  <a16:creationId xmlns:a16="http://schemas.microsoft.com/office/drawing/2014/main" id="{4455B3AD-0DF4-4783-D090-65F1C0C01B42}"/>
                </a:ext>
              </a:extLst>
            </p:cNvPr>
            <p:cNvSpPr txBox="1"/>
            <p:nvPr/>
          </p:nvSpPr>
          <p:spPr>
            <a:xfrm>
              <a:off x="859346" y="5698441"/>
              <a:ext cx="1606354" cy="600164"/>
            </a:xfrm>
            <a:prstGeom prst="rect">
              <a:avLst/>
            </a:prstGeom>
            <a:noFill/>
          </p:spPr>
          <p:txBody>
            <a:bodyPr wrap="square">
              <a:spAutoFit/>
            </a:bodyPr>
            <a:lstStyle/>
            <a:p>
              <a:pPr marR="0" lvl="0" algn="ctr">
                <a:spcBef>
                  <a:spcPts val="0"/>
                </a:spcBef>
                <a:spcAft>
                  <a:spcPts val="0"/>
                </a:spcAft>
              </a:pPr>
              <a:r>
                <a:rPr lang="en-US" sz="1100">
                  <a:effectLst/>
                  <a:ea typeface="Times New Roman" panose="02020603050405020304" pitchFamily="18" charset="0"/>
                </a:rPr>
                <a:t>Bid award decisions shared with winners &amp; unsuccessful bidders</a:t>
              </a:r>
            </a:p>
          </p:txBody>
        </p:sp>
        <p:sp>
          <p:nvSpPr>
            <p:cNvPr id="40" name="Titel 1">
              <a:extLst>
                <a:ext uri="{FF2B5EF4-FFF2-40B4-BE49-F238E27FC236}">
                  <a16:creationId xmlns:a16="http://schemas.microsoft.com/office/drawing/2014/main" id="{3803DB52-C33B-F9E3-F2EB-C1C81CEB0FC8}"/>
                </a:ext>
              </a:extLst>
            </p:cNvPr>
            <p:cNvSpPr txBox="1">
              <a:spLocks/>
            </p:cNvSpPr>
            <p:nvPr/>
          </p:nvSpPr>
          <p:spPr>
            <a:xfrm>
              <a:off x="830841" y="4542609"/>
              <a:ext cx="438912"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6</a:t>
              </a:r>
            </a:p>
          </p:txBody>
        </p:sp>
        <p:grpSp>
          <p:nvGrpSpPr>
            <p:cNvPr id="66" name="Group 65">
              <a:extLst>
                <a:ext uri="{FF2B5EF4-FFF2-40B4-BE49-F238E27FC236}">
                  <a16:creationId xmlns:a16="http://schemas.microsoft.com/office/drawing/2014/main" id="{88DC32E9-BF8A-DB78-4BE4-1DD92EE74E88}"/>
                </a:ext>
              </a:extLst>
            </p:cNvPr>
            <p:cNvGrpSpPr/>
            <p:nvPr/>
          </p:nvGrpSpPr>
          <p:grpSpPr>
            <a:xfrm>
              <a:off x="1254075" y="4690961"/>
              <a:ext cx="816033" cy="868014"/>
              <a:chOff x="3429764" y="4421952"/>
              <a:chExt cx="1055613" cy="1122857"/>
            </a:xfrm>
          </p:grpSpPr>
          <p:sp>
            <p:nvSpPr>
              <p:cNvPr id="67" name="Oval 66">
                <a:extLst>
                  <a:ext uri="{FF2B5EF4-FFF2-40B4-BE49-F238E27FC236}">
                    <a16:creationId xmlns:a16="http://schemas.microsoft.com/office/drawing/2014/main" id="{63474DFF-4B77-91A6-0F17-C9B07212B022}"/>
                  </a:ext>
                </a:extLst>
              </p:cNvPr>
              <p:cNvSpPr/>
              <p:nvPr/>
            </p:nvSpPr>
            <p:spPr>
              <a:xfrm>
                <a:off x="3795150" y="5227234"/>
                <a:ext cx="322449" cy="317575"/>
              </a:xfrm>
              <a:prstGeom prst="ellipse">
                <a:avLst/>
              </a:prstGeom>
              <a:solidFill>
                <a:srgbClr val="FDB91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68" name="Graphic 165" descr="Ringer with solid fill">
                <a:extLst>
                  <a:ext uri="{FF2B5EF4-FFF2-40B4-BE49-F238E27FC236}">
                    <a16:creationId xmlns:a16="http://schemas.microsoft.com/office/drawing/2014/main" id="{A4D1F040-B084-93EF-24BF-7066D1AE640F}"/>
                  </a:ext>
                </a:extLst>
              </p:cNvPr>
              <p:cNvSpPr/>
              <p:nvPr/>
            </p:nvSpPr>
            <p:spPr>
              <a:xfrm>
                <a:off x="3453671" y="4421952"/>
                <a:ext cx="1005407" cy="966144"/>
              </a:xfrm>
              <a:custGeom>
                <a:avLst/>
                <a:gdLst>
                  <a:gd name="connsiteX0" fmla="*/ 986366 w 1005407"/>
                  <a:gd name="connsiteY0" fmla="*/ 897376 h 1051480"/>
                  <a:gd name="connsiteX1" fmla="*/ 769527 w 1005407"/>
                  <a:gd name="connsiteY1" fmla="*/ 363584 h 1051480"/>
                  <a:gd name="connsiteX2" fmla="*/ 602817 w 1005407"/>
                  <a:gd name="connsiteY2" fmla="*/ 133339 h 1051480"/>
                  <a:gd name="connsiteX3" fmla="*/ 606897 w 1005407"/>
                  <a:gd name="connsiteY3" fmla="*/ 104194 h 1051480"/>
                  <a:gd name="connsiteX4" fmla="*/ 502704 w 1005407"/>
                  <a:gd name="connsiteY4" fmla="*/ 0 h 1051480"/>
                  <a:gd name="connsiteX5" fmla="*/ 398510 w 1005407"/>
                  <a:gd name="connsiteY5" fmla="*/ 104194 h 1051480"/>
                  <a:gd name="connsiteX6" fmla="*/ 402591 w 1005407"/>
                  <a:gd name="connsiteY6" fmla="*/ 133339 h 1051480"/>
                  <a:gd name="connsiteX7" fmla="*/ 235881 w 1005407"/>
                  <a:gd name="connsiteY7" fmla="*/ 363584 h 1051480"/>
                  <a:gd name="connsiteX8" fmla="*/ 19042 w 1005407"/>
                  <a:gd name="connsiteY8" fmla="*/ 897230 h 1051480"/>
                  <a:gd name="connsiteX9" fmla="*/ 21811 w 1005407"/>
                  <a:gd name="connsiteY9" fmla="*/ 952897 h 1051480"/>
                  <a:gd name="connsiteX10" fmla="*/ 393410 w 1005407"/>
                  <a:gd name="connsiteY10" fmla="*/ 952897 h 1051480"/>
                  <a:gd name="connsiteX11" fmla="*/ 514006 w 1005407"/>
                  <a:gd name="connsiteY11" fmla="*/ 1050889 h 1051480"/>
                  <a:gd name="connsiteX12" fmla="*/ 611998 w 1005407"/>
                  <a:gd name="connsiteY12" fmla="*/ 952897 h 1051480"/>
                  <a:gd name="connsiteX13" fmla="*/ 983597 w 1005407"/>
                  <a:gd name="connsiteY13" fmla="*/ 952897 h 1051480"/>
                  <a:gd name="connsiteX14" fmla="*/ 986366 w 1005407"/>
                  <a:gd name="connsiteY14" fmla="*/ 897376 h 1051480"/>
                  <a:gd name="connsiteX15" fmla="*/ 456800 w 1005407"/>
                  <a:gd name="connsiteY15" fmla="*/ 104922 h 1051480"/>
                  <a:gd name="connsiteX16" fmla="*/ 502704 w 1005407"/>
                  <a:gd name="connsiteY16" fmla="*/ 59019 h 1051480"/>
                  <a:gd name="connsiteX17" fmla="*/ 548607 w 1005407"/>
                  <a:gd name="connsiteY17" fmla="*/ 104922 h 1051480"/>
                  <a:gd name="connsiteX18" fmla="*/ 546421 w 1005407"/>
                  <a:gd name="connsiteY18" fmla="*/ 118475 h 1051480"/>
                  <a:gd name="connsiteX19" fmla="*/ 502704 w 1005407"/>
                  <a:gd name="connsiteY19" fmla="*/ 113520 h 1051480"/>
                  <a:gd name="connsiteX20" fmla="*/ 502704 w 1005407"/>
                  <a:gd name="connsiteY20" fmla="*/ 113520 h 1051480"/>
                  <a:gd name="connsiteX21" fmla="*/ 458986 w 1005407"/>
                  <a:gd name="connsiteY21" fmla="*/ 118475 h 1051480"/>
                  <a:gd name="connsiteX22" fmla="*/ 456800 w 1005407"/>
                  <a:gd name="connsiteY22" fmla="*/ 104922 h 1051480"/>
                  <a:gd name="connsiteX0" fmla="*/ 986366 w 1005407"/>
                  <a:gd name="connsiteY0" fmla="*/ 897376 h 966144"/>
                  <a:gd name="connsiteX1" fmla="*/ 769527 w 1005407"/>
                  <a:gd name="connsiteY1" fmla="*/ 363584 h 966144"/>
                  <a:gd name="connsiteX2" fmla="*/ 602817 w 1005407"/>
                  <a:gd name="connsiteY2" fmla="*/ 133339 h 966144"/>
                  <a:gd name="connsiteX3" fmla="*/ 606897 w 1005407"/>
                  <a:gd name="connsiteY3" fmla="*/ 104194 h 966144"/>
                  <a:gd name="connsiteX4" fmla="*/ 502704 w 1005407"/>
                  <a:gd name="connsiteY4" fmla="*/ 0 h 966144"/>
                  <a:gd name="connsiteX5" fmla="*/ 398510 w 1005407"/>
                  <a:gd name="connsiteY5" fmla="*/ 104194 h 966144"/>
                  <a:gd name="connsiteX6" fmla="*/ 402591 w 1005407"/>
                  <a:gd name="connsiteY6" fmla="*/ 133339 h 966144"/>
                  <a:gd name="connsiteX7" fmla="*/ 235881 w 1005407"/>
                  <a:gd name="connsiteY7" fmla="*/ 363584 h 966144"/>
                  <a:gd name="connsiteX8" fmla="*/ 19042 w 1005407"/>
                  <a:gd name="connsiteY8" fmla="*/ 897230 h 966144"/>
                  <a:gd name="connsiteX9" fmla="*/ 21811 w 1005407"/>
                  <a:gd name="connsiteY9" fmla="*/ 952897 h 966144"/>
                  <a:gd name="connsiteX10" fmla="*/ 393410 w 1005407"/>
                  <a:gd name="connsiteY10" fmla="*/ 952897 h 966144"/>
                  <a:gd name="connsiteX11" fmla="*/ 487880 w 1005407"/>
                  <a:gd name="connsiteY11" fmla="*/ 841884 h 966144"/>
                  <a:gd name="connsiteX12" fmla="*/ 611998 w 1005407"/>
                  <a:gd name="connsiteY12" fmla="*/ 952897 h 966144"/>
                  <a:gd name="connsiteX13" fmla="*/ 983597 w 1005407"/>
                  <a:gd name="connsiteY13" fmla="*/ 952897 h 966144"/>
                  <a:gd name="connsiteX14" fmla="*/ 986366 w 1005407"/>
                  <a:gd name="connsiteY14" fmla="*/ 897376 h 966144"/>
                  <a:gd name="connsiteX15" fmla="*/ 456800 w 1005407"/>
                  <a:gd name="connsiteY15" fmla="*/ 104922 h 966144"/>
                  <a:gd name="connsiteX16" fmla="*/ 502704 w 1005407"/>
                  <a:gd name="connsiteY16" fmla="*/ 59019 h 966144"/>
                  <a:gd name="connsiteX17" fmla="*/ 548607 w 1005407"/>
                  <a:gd name="connsiteY17" fmla="*/ 104922 h 966144"/>
                  <a:gd name="connsiteX18" fmla="*/ 546421 w 1005407"/>
                  <a:gd name="connsiteY18" fmla="*/ 118475 h 966144"/>
                  <a:gd name="connsiteX19" fmla="*/ 502704 w 1005407"/>
                  <a:gd name="connsiteY19" fmla="*/ 113520 h 966144"/>
                  <a:gd name="connsiteX20" fmla="*/ 502704 w 1005407"/>
                  <a:gd name="connsiteY20" fmla="*/ 113520 h 966144"/>
                  <a:gd name="connsiteX21" fmla="*/ 458986 w 1005407"/>
                  <a:gd name="connsiteY21" fmla="*/ 118475 h 966144"/>
                  <a:gd name="connsiteX22" fmla="*/ 456800 w 1005407"/>
                  <a:gd name="connsiteY22" fmla="*/ 104922 h 96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5407" h="966144">
                    <a:moveTo>
                      <a:pt x="986366" y="897376"/>
                    </a:moveTo>
                    <a:cubicBezTo>
                      <a:pt x="904322" y="856281"/>
                      <a:pt x="781185" y="751651"/>
                      <a:pt x="769527" y="363584"/>
                    </a:cubicBezTo>
                    <a:cubicBezTo>
                      <a:pt x="765301" y="220919"/>
                      <a:pt x="676845" y="159569"/>
                      <a:pt x="602817" y="133339"/>
                    </a:cubicBezTo>
                    <a:cubicBezTo>
                      <a:pt x="605579" y="123872"/>
                      <a:pt x="606953" y="114055"/>
                      <a:pt x="606897" y="104194"/>
                    </a:cubicBezTo>
                    <a:cubicBezTo>
                      <a:pt x="606897" y="46650"/>
                      <a:pt x="560248" y="0"/>
                      <a:pt x="502704" y="0"/>
                    </a:cubicBezTo>
                    <a:cubicBezTo>
                      <a:pt x="445160" y="0"/>
                      <a:pt x="398510" y="46650"/>
                      <a:pt x="398510" y="104194"/>
                    </a:cubicBezTo>
                    <a:cubicBezTo>
                      <a:pt x="398455" y="114055"/>
                      <a:pt x="399829" y="123872"/>
                      <a:pt x="402591" y="133339"/>
                    </a:cubicBezTo>
                    <a:cubicBezTo>
                      <a:pt x="328562" y="159569"/>
                      <a:pt x="240107" y="220774"/>
                      <a:pt x="235881" y="363584"/>
                    </a:cubicBezTo>
                    <a:cubicBezTo>
                      <a:pt x="224223" y="751213"/>
                      <a:pt x="101085" y="856136"/>
                      <a:pt x="19042" y="897230"/>
                    </a:cubicBezTo>
                    <a:cubicBezTo>
                      <a:pt x="-14329" y="913843"/>
                      <a:pt x="2429" y="952897"/>
                      <a:pt x="21811" y="952897"/>
                    </a:cubicBezTo>
                    <a:lnTo>
                      <a:pt x="393410" y="952897"/>
                    </a:lnTo>
                    <a:cubicBezTo>
                      <a:pt x="399653" y="1013258"/>
                      <a:pt x="427519" y="848125"/>
                      <a:pt x="487880" y="841884"/>
                    </a:cubicBezTo>
                    <a:cubicBezTo>
                      <a:pt x="539621" y="836533"/>
                      <a:pt x="606647" y="1004638"/>
                      <a:pt x="611998" y="952897"/>
                    </a:cubicBezTo>
                    <a:lnTo>
                      <a:pt x="983597" y="952897"/>
                    </a:lnTo>
                    <a:cubicBezTo>
                      <a:pt x="1002979" y="952897"/>
                      <a:pt x="1019737" y="913989"/>
                      <a:pt x="986366" y="897376"/>
                    </a:cubicBezTo>
                    <a:close/>
                    <a:moveTo>
                      <a:pt x="456800" y="104922"/>
                    </a:moveTo>
                    <a:cubicBezTo>
                      <a:pt x="456800" y="79570"/>
                      <a:pt x="477352" y="59019"/>
                      <a:pt x="502704" y="59019"/>
                    </a:cubicBezTo>
                    <a:cubicBezTo>
                      <a:pt x="528056" y="59019"/>
                      <a:pt x="548607" y="79570"/>
                      <a:pt x="548607" y="104922"/>
                    </a:cubicBezTo>
                    <a:cubicBezTo>
                      <a:pt x="548545" y="109523"/>
                      <a:pt x="547809" y="114088"/>
                      <a:pt x="546421" y="118475"/>
                    </a:cubicBezTo>
                    <a:cubicBezTo>
                      <a:pt x="532002" y="115678"/>
                      <a:pt x="517384" y="114021"/>
                      <a:pt x="502704" y="113520"/>
                    </a:cubicBezTo>
                    <a:lnTo>
                      <a:pt x="502704" y="113520"/>
                    </a:lnTo>
                    <a:cubicBezTo>
                      <a:pt x="488031" y="114112"/>
                      <a:pt x="473420" y="115767"/>
                      <a:pt x="458986" y="118475"/>
                    </a:cubicBezTo>
                    <a:cubicBezTo>
                      <a:pt x="457574" y="114094"/>
                      <a:pt x="456837" y="109524"/>
                      <a:pt x="456800" y="104922"/>
                    </a:cubicBezTo>
                    <a:close/>
                  </a:path>
                </a:pathLst>
              </a:custGeom>
              <a:solidFill>
                <a:srgbClr val="FDB913"/>
              </a:solidFill>
              <a:ln w="14486" cap="flat">
                <a:noFill/>
                <a:prstDash val="solid"/>
                <a:miter/>
              </a:ln>
            </p:spPr>
            <p:txBody>
              <a:bodyPr rtlCol="0" anchor="ctr"/>
              <a:lstStyle/>
              <a:p>
                <a:endParaRPr lang="en-US"/>
              </a:p>
            </p:txBody>
          </p:sp>
          <p:sp>
            <p:nvSpPr>
              <p:cNvPr id="69" name="Oval 68">
                <a:extLst>
                  <a:ext uri="{FF2B5EF4-FFF2-40B4-BE49-F238E27FC236}">
                    <a16:creationId xmlns:a16="http://schemas.microsoft.com/office/drawing/2014/main" id="{487135FE-B888-A281-73CE-F3F456AC64BF}"/>
                  </a:ext>
                </a:extLst>
              </p:cNvPr>
              <p:cNvSpPr/>
              <p:nvPr/>
            </p:nvSpPr>
            <p:spPr>
              <a:xfrm>
                <a:off x="3822229" y="5166160"/>
                <a:ext cx="250871" cy="217786"/>
              </a:xfrm>
              <a:prstGeom prst="ellipse">
                <a:avLst/>
              </a:prstGeom>
              <a:solidFill>
                <a:srgbClr val="FDB913"/>
              </a:solidFill>
              <a:ln w="9525">
                <a:solidFill>
                  <a:srgbClr val="FDB913"/>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70" name="Rectangle: Rounded Corners 248">
                <a:extLst>
                  <a:ext uri="{FF2B5EF4-FFF2-40B4-BE49-F238E27FC236}">
                    <a16:creationId xmlns:a16="http://schemas.microsoft.com/office/drawing/2014/main" id="{7A36A1F5-11B2-725F-36D7-88BA4B21EDF1}"/>
                  </a:ext>
                </a:extLst>
              </p:cNvPr>
              <p:cNvSpPr/>
              <p:nvPr/>
            </p:nvSpPr>
            <p:spPr>
              <a:xfrm>
                <a:off x="3429764" y="5337197"/>
                <a:ext cx="1053220" cy="58451"/>
              </a:xfrm>
              <a:prstGeom prst="round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71" name="Oval 70">
                <a:extLst>
                  <a:ext uri="{FF2B5EF4-FFF2-40B4-BE49-F238E27FC236}">
                    <a16:creationId xmlns:a16="http://schemas.microsoft.com/office/drawing/2014/main" id="{4F50243B-AB8A-DF62-5D89-158E15B1EEBA}"/>
                  </a:ext>
                </a:extLst>
              </p:cNvPr>
              <p:cNvSpPr/>
              <p:nvPr/>
            </p:nvSpPr>
            <p:spPr>
              <a:xfrm>
                <a:off x="4073100" y="4533029"/>
                <a:ext cx="412277" cy="412277"/>
              </a:xfrm>
              <a:prstGeom prst="ellipse">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72" name="Titel 1">
                <a:extLst>
                  <a:ext uri="{FF2B5EF4-FFF2-40B4-BE49-F238E27FC236}">
                    <a16:creationId xmlns:a16="http://schemas.microsoft.com/office/drawing/2014/main" id="{2B8B8B40-0A25-3E44-AE54-8ACFB6E0C509}"/>
                  </a:ext>
                </a:extLst>
              </p:cNvPr>
              <p:cNvSpPr txBox="1">
                <a:spLocks/>
              </p:cNvSpPr>
              <p:nvPr/>
            </p:nvSpPr>
            <p:spPr>
              <a:xfrm>
                <a:off x="4168411" y="4538819"/>
                <a:ext cx="221654" cy="278460"/>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400">
                    <a:solidFill>
                      <a:schemeClr val="bg1"/>
                    </a:solidFill>
                    <a:latin typeface="+mj-lt"/>
                  </a:rPr>
                  <a:t>1</a:t>
                </a:r>
              </a:p>
            </p:txBody>
          </p:sp>
        </p:grpSp>
      </p:grpSp>
      <p:grpSp>
        <p:nvGrpSpPr>
          <p:cNvPr id="320" name="Group 319"/>
          <p:cNvGrpSpPr/>
          <p:nvPr/>
        </p:nvGrpSpPr>
        <p:grpSpPr>
          <a:xfrm>
            <a:off x="3117217" y="1722655"/>
            <a:ext cx="1606355" cy="1925904"/>
            <a:chOff x="2649146" y="2071308"/>
            <a:chExt cx="1606355" cy="1925904"/>
          </a:xfrm>
        </p:grpSpPr>
        <p:sp>
          <p:nvSpPr>
            <p:cNvPr id="15" name="Rectangle: Rounded Corners 8">
              <a:extLst>
                <a:ext uri="{FF2B5EF4-FFF2-40B4-BE49-F238E27FC236}">
                  <a16:creationId xmlns:a16="http://schemas.microsoft.com/office/drawing/2014/main" id="{88145FA0-34E7-0F0A-9A73-37D72A488B46}"/>
                </a:ext>
              </a:extLst>
            </p:cNvPr>
            <p:cNvSpPr/>
            <p:nvPr/>
          </p:nvSpPr>
          <p:spPr>
            <a:xfrm>
              <a:off x="2649146" y="2071308"/>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7" name="Titel 1">
              <a:extLst>
                <a:ext uri="{FF2B5EF4-FFF2-40B4-BE49-F238E27FC236}">
                  <a16:creationId xmlns:a16="http://schemas.microsoft.com/office/drawing/2014/main" id="{261DCF5C-C261-48E2-86FA-E5B373EBD3C2}"/>
                </a:ext>
              </a:extLst>
            </p:cNvPr>
            <p:cNvSpPr txBox="1">
              <a:spLocks/>
            </p:cNvSpPr>
            <p:nvPr/>
          </p:nvSpPr>
          <p:spPr>
            <a:xfrm>
              <a:off x="2649146" y="2123614"/>
              <a:ext cx="438912"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2</a:t>
              </a:r>
            </a:p>
          </p:txBody>
        </p:sp>
        <p:sp>
          <p:nvSpPr>
            <p:cNvPr id="29" name="TextBox 28">
              <a:extLst>
                <a:ext uri="{FF2B5EF4-FFF2-40B4-BE49-F238E27FC236}">
                  <a16:creationId xmlns:a16="http://schemas.microsoft.com/office/drawing/2014/main" id="{7E1F7C29-094D-388A-3342-0FBFB2F47AD5}"/>
                </a:ext>
              </a:extLst>
            </p:cNvPr>
            <p:cNvSpPr txBox="1"/>
            <p:nvPr/>
          </p:nvSpPr>
          <p:spPr>
            <a:xfrm>
              <a:off x="2696898" y="3290059"/>
              <a:ext cx="1539065" cy="600164"/>
            </a:xfrm>
            <a:prstGeom prst="rect">
              <a:avLst/>
            </a:prstGeom>
            <a:noFill/>
          </p:spPr>
          <p:txBody>
            <a:bodyPr wrap="square">
              <a:spAutoFit/>
            </a:bodyPr>
            <a:lstStyle/>
            <a:p>
              <a:pPr marR="0" lvl="0" algn="ctr">
                <a:spcBef>
                  <a:spcPts val="0"/>
                </a:spcBef>
                <a:spcAft>
                  <a:spcPts val="0"/>
                </a:spcAft>
              </a:pPr>
              <a:r>
                <a:rPr lang="en-US" sz="1100">
                  <a:effectLst/>
                  <a:ea typeface="Times New Roman" panose="02020603050405020304" pitchFamily="18" charset="0"/>
                </a:rPr>
                <a:t>Bidders submit prequal. </a:t>
              </a:r>
              <a:r>
                <a:rPr lang="en-US" sz="1100">
                  <a:ea typeface="Times New Roman" panose="02020603050405020304" pitchFamily="18" charset="0"/>
                </a:rPr>
                <a:t>m</a:t>
              </a:r>
              <a:r>
                <a:rPr lang="en-US" sz="1100">
                  <a:effectLst/>
                  <a:ea typeface="Times New Roman" panose="02020603050405020304" pitchFamily="18" charset="0"/>
                </a:rPr>
                <a:t>aterial and bids </a:t>
              </a:r>
            </a:p>
          </p:txBody>
        </p:sp>
        <p:grpSp>
          <p:nvGrpSpPr>
            <p:cNvPr id="73" name="Group 72">
              <a:extLst>
                <a:ext uri="{FF2B5EF4-FFF2-40B4-BE49-F238E27FC236}">
                  <a16:creationId xmlns:a16="http://schemas.microsoft.com/office/drawing/2014/main" id="{B532BA77-776A-0C51-E608-35C8F718FD1A}"/>
                </a:ext>
              </a:extLst>
            </p:cNvPr>
            <p:cNvGrpSpPr/>
            <p:nvPr/>
          </p:nvGrpSpPr>
          <p:grpSpPr>
            <a:xfrm>
              <a:off x="3026688" y="2403318"/>
              <a:ext cx="857520" cy="764252"/>
              <a:chOff x="3857092" y="3792729"/>
              <a:chExt cx="1245684" cy="1110200"/>
            </a:xfrm>
          </p:grpSpPr>
          <p:sp>
            <p:nvSpPr>
              <p:cNvPr id="74" name="Rectangle: Rounded Corners 261">
                <a:extLst>
                  <a:ext uri="{FF2B5EF4-FFF2-40B4-BE49-F238E27FC236}">
                    <a16:creationId xmlns:a16="http://schemas.microsoft.com/office/drawing/2014/main" id="{76559E99-2737-DFC8-B62C-29041129D7E4}"/>
                  </a:ext>
                </a:extLst>
              </p:cNvPr>
              <p:cNvSpPr/>
              <p:nvPr/>
            </p:nvSpPr>
            <p:spPr>
              <a:xfrm>
                <a:off x="4314471" y="4533032"/>
                <a:ext cx="330926" cy="361185"/>
              </a:xfrm>
              <a:prstGeom prst="round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75" name="Rectangle: Rounded Corners 262">
                <a:extLst>
                  <a:ext uri="{FF2B5EF4-FFF2-40B4-BE49-F238E27FC236}">
                    <a16:creationId xmlns:a16="http://schemas.microsoft.com/office/drawing/2014/main" id="{99FF423A-989B-8DB4-2BCC-C69FD60A81DA}"/>
                  </a:ext>
                </a:extLst>
              </p:cNvPr>
              <p:cNvSpPr/>
              <p:nvPr/>
            </p:nvSpPr>
            <p:spPr>
              <a:xfrm>
                <a:off x="4037248" y="4827011"/>
                <a:ext cx="885372" cy="75918"/>
              </a:xfrm>
              <a:prstGeom prst="round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76" name="Rectangle: Rounded Corners 263">
                <a:extLst>
                  <a:ext uri="{FF2B5EF4-FFF2-40B4-BE49-F238E27FC236}">
                    <a16:creationId xmlns:a16="http://schemas.microsoft.com/office/drawing/2014/main" id="{99DBAC19-1305-3DBA-AE9B-10697E25F868}"/>
                  </a:ext>
                </a:extLst>
              </p:cNvPr>
              <p:cNvSpPr/>
              <p:nvPr/>
            </p:nvSpPr>
            <p:spPr>
              <a:xfrm>
                <a:off x="3857092" y="3792729"/>
                <a:ext cx="1245684" cy="889727"/>
              </a:xfrm>
              <a:prstGeom prst="round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77" name="Rectangle: Rounded Corners 264">
                <a:extLst>
                  <a:ext uri="{FF2B5EF4-FFF2-40B4-BE49-F238E27FC236}">
                    <a16:creationId xmlns:a16="http://schemas.microsoft.com/office/drawing/2014/main" id="{C56BF0DF-0F8C-5080-5C2D-7B474A5A824F}"/>
                  </a:ext>
                </a:extLst>
              </p:cNvPr>
              <p:cNvSpPr/>
              <p:nvPr/>
            </p:nvSpPr>
            <p:spPr>
              <a:xfrm>
                <a:off x="3950620" y="3867611"/>
                <a:ext cx="1058634" cy="726697"/>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78" name="Oval 77">
                <a:extLst>
                  <a:ext uri="{FF2B5EF4-FFF2-40B4-BE49-F238E27FC236}">
                    <a16:creationId xmlns:a16="http://schemas.microsoft.com/office/drawing/2014/main" id="{84BBA773-2D44-98EC-56E7-D2DFD83C75C0}"/>
                  </a:ext>
                </a:extLst>
              </p:cNvPr>
              <p:cNvSpPr/>
              <p:nvPr/>
            </p:nvSpPr>
            <p:spPr>
              <a:xfrm>
                <a:off x="4418151" y="4642218"/>
                <a:ext cx="123567" cy="123567"/>
              </a:xfrm>
              <a:prstGeom prst="ellipse">
                <a:avLst/>
              </a:prstGeom>
              <a:solidFill>
                <a:srgbClr val="CCD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79" name="Rectangle: Rounded Corners 266">
                <a:extLst>
                  <a:ext uri="{FF2B5EF4-FFF2-40B4-BE49-F238E27FC236}">
                    <a16:creationId xmlns:a16="http://schemas.microsoft.com/office/drawing/2014/main" id="{C2DEA1AB-562C-E12F-F608-025C443FD870}"/>
                  </a:ext>
                </a:extLst>
              </p:cNvPr>
              <p:cNvSpPr/>
              <p:nvPr/>
            </p:nvSpPr>
            <p:spPr>
              <a:xfrm>
                <a:off x="4193191" y="4066467"/>
                <a:ext cx="573487" cy="256101"/>
              </a:xfrm>
              <a:prstGeom prst="round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80" name="TextBox 79">
                <a:extLst>
                  <a:ext uri="{FF2B5EF4-FFF2-40B4-BE49-F238E27FC236}">
                    <a16:creationId xmlns:a16="http://schemas.microsoft.com/office/drawing/2014/main" id="{B3C17288-1744-5C9E-77D0-C3CC6302BC91}"/>
                  </a:ext>
                </a:extLst>
              </p:cNvPr>
              <p:cNvSpPr txBox="1"/>
              <p:nvPr/>
            </p:nvSpPr>
            <p:spPr>
              <a:xfrm>
                <a:off x="3950616" y="4027468"/>
                <a:ext cx="1058635" cy="290612"/>
              </a:xfrm>
              <a:prstGeom prst="rect">
                <a:avLst/>
              </a:prstGeom>
              <a:noFill/>
            </p:spPr>
            <p:txBody>
              <a:bodyPr wrap="square">
                <a:spAutoFit/>
              </a:bodyPr>
              <a:lstStyle/>
              <a:p>
                <a:pPr algn="ctr"/>
                <a:r>
                  <a:rPr lang="en-US" sz="700">
                    <a:solidFill>
                      <a:schemeClr val="bg1"/>
                    </a:solidFill>
                    <a:effectLst/>
                    <a:latin typeface="+mj-lt"/>
                    <a:ea typeface="Times New Roman" panose="02020603050405020304" pitchFamily="18" charset="0"/>
                  </a:rPr>
                  <a:t>SUBMIT</a:t>
                </a:r>
                <a:endParaRPr lang="en-US" sz="1050">
                  <a:solidFill>
                    <a:schemeClr val="bg1"/>
                  </a:solidFill>
                  <a:latin typeface="+mj-lt"/>
                </a:endParaRPr>
              </a:p>
            </p:txBody>
          </p:sp>
          <p:pic>
            <p:nvPicPr>
              <p:cNvPr id="81" name="Graphic 268" descr="Cursor with solid fill">
                <a:extLst>
                  <a:ext uri="{FF2B5EF4-FFF2-40B4-BE49-F238E27FC236}">
                    <a16:creationId xmlns:a16="http://schemas.microsoft.com/office/drawing/2014/main" id="{1B8F5DC0-FA76-6C26-8E7D-5E8C0DA384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85345" y="4152131"/>
                <a:ext cx="486253" cy="486253"/>
              </a:xfrm>
              <a:prstGeom prst="rect">
                <a:avLst/>
              </a:prstGeom>
            </p:spPr>
          </p:pic>
        </p:grpSp>
      </p:grpSp>
      <p:grpSp>
        <p:nvGrpSpPr>
          <p:cNvPr id="326" name="Group 325"/>
          <p:cNvGrpSpPr/>
          <p:nvPr/>
        </p:nvGrpSpPr>
        <p:grpSpPr>
          <a:xfrm>
            <a:off x="4676198" y="4346096"/>
            <a:ext cx="1653054" cy="1925904"/>
            <a:chOff x="4578927" y="4522236"/>
            <a:chExt cx="1653054" cy="1925904"/>
          </a:xfrm>
        </p:grpSpPr>
        <p:sp>
          <p:nvSpPr>
            <p:cNvPr id="22" name="Rectangle: Rounded Corners 23">
              <a:extLst>
                <a:ext uri="{FF2B5EF4-FFF2-40B4-BE49-F238E27FC236}">
                  <a16:creationId xmlns:a16="http://schemas.microsoft.com/office/drawing/2014/main" id="{65F22D18-F082-ABA3-FBA8-D826BB1A3D93}"/>
                </a:ext>
              </a:extLst>
            </p:cNvPr>
            <p:cNvSpPr/>
            <p:nvPr/>
          </p:nvSpPr>
          <p:spPr>
            <a:xfrm>
              <a:off x="4601890" y="4522236"/>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34" name="TextBox 33">
              <a:extLst>
                <a:ext uri="{FF2B5EF4-FFF2-40B4-BE49-F238E27FC236}">
                  <a16:creationId xmlns:a16="http://schemas.microsoft.com/office/drawing/2014/main" id="{298CEAEB-E130-8D87-809F-17C7D182A990}"/>
                </a:ext>
              </a:extLst>
            </p:cNvPr>
            <p:cNvSpPr txBox="1"/>
            <p:nvPr/>
          </p:nvSpPr>
          <p:spPr>
            <a:xfrm>
              <a:off x="4645164" y="5700477"/>
              <a:ext cx="1586817" cy="600164"/>
            </a:xfrm>
            <a:prstGeom prst="rect">
              <a:avLst/>
            </a:prstGeom>
            <a:noFill/>
          </p:spPr>
          <p:txBody>
            <a:bodyPr wrap="square">
              <a:spAutoFit/>
            </a:bodyPr>
            <a:lstStyle/>
            <a:p>
              <a:pPr marR="0" lvl="0" algn="ctr">
                <a:spcBef>
                  <a:spcPts val="0"/>
                </a:spcBef>
                <a:spcAft>
                  <a:spcPts val="0"/>
                </a:spcAft>
              </a:pPr>
              <a:r>
                <a:rPr lang="en-US" sz="1100">
                  <a:effectLst/>
                  <a:ea typeface="Times New Roman" panose="02020603050405020304" pitchFamily="18" charset="0"/>
                </a:rPr>
                <a:t>Winners sign fixed premium agreement with CINEA</a:t>
              </a:r>
            </a:p>
          </p:txBody>
        </p:sp>
        <p:sp>
          <p:nvSpPr>
            <p:cNvPr id="41" name="Titel 1">
              <a:extLst>
                <a:ext uri="{FF2B5EF4-FFF2-40B4-BE49-F238E27FC236}">
                  <a16:creationId xmlns:a16="http://schemas.microsoft.com/office/drawing/2014/main" id="{61434288-CCAB-9B8F-BA3C-1892A896207A}"/>
                </a:ext>
              </a:extLst>
            </p:cNvPr>
            <p:cNvSpPr txBox="1">
              <a:spLocks/>
            </p:cNvSpPr>
            <p:nvPr/>
          </p:nvSpPr>
          <p:spPr>
            <a:xfrm>
              <a:off x="4578927" y="4567652"/>
              <a:ext cx="542214"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8</a:t>
              </a:r>
            </a:p>
          </p:txBody>
        </p:sp>
        <p:grpSp>
          <p:nvGrpSpPr>
            <p:cNvPr id="98" name="Group 97">
              <a:extLst>
                <a:ext uri="{FF2B5EF4-FFF2-40B4-BE49-F238E27FC236}">
                  <a16:creationId xmlns:a16="http://schemas.microsoft.com/office/drawing/2014/main" id="{1DAB0C53-1D47-8B70-982B-C41D005C9A35}"/>
                </a:ext>
              </a:extLst>
            </p:cNvPr>
            <p:cNvGrpSpPr/>
            <p:nvPr/>
          </p:nvGrpSpPr>
          <p:grpSpPr>
            <a:xfrm>
              <a:off x="5193304" y="4836819"/>
              <a:ext cx="598431" cy="756327"/>
              <a:chOff x="2220507" y="7245878"/>
              <a:chExt cx="598431" cy="756327"/>
            </a:xfrm>
          </p:grpSpPr>
          <p:sp>
            <p:nvSpPr>
              <p:cNvPr id="99" name="Rectangle: Rounded Corners 465">
                <a:extLst>
                  <a:ext uri="{FF2B5EF4-FFF2-40B4-BE49-F238E27FC236}">
                    <a16:creationId xmlns:a16="http://schemas.microsoft.com/office/drawing/2014/main" id="{FB4A16ED-45B6-2938-BF3D-E219F00522FD}"/>
                  </a:ext>
                </a:extLst>
              </p:cNvPr>
              <p:cNvSpPr/>
              <p:nvPr/>
            </p:nvSpPr>
            <p:spPr>
              <a:xfrm>
                <a:off x="2220507" y="7245878"/>
                <a:ext cx="590251" cy="756327"/>
              </a:xfrm>
              <a:prstGeom prst="round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100" name="Rectangle: Rounded Corners 466">
                <a:extLst>
                  <a:ext uri="{FF2B5EF4-FFF2-40B4-BE49-F238E27FC236}">
                    <a16:creationId xmlns:a16="http://schemas.microsoft.com/office/drawing/2014/main" id="{12F6F189-6D02-05BB-7E21-73FC27AD8CBA}"/>
                  </a:ext>
                </a:extLst>
              </p:cNvPr>
              <p:cNvSpPr/>
              <p:nvPr/>
            </p:nvSpPr>
            <p:spPr>
              <a:xfrm>
                <a:off x="2252285" y="7284943"/>
                <a:ext cx="527989" cy="677463"/>
              </a:xfrm>
              <a:prstGeom prst="round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nvGrpSpPr>
              <p:cNvPr id="101" name="Group 100">
                <a:extLst>
                  <a:ext uri="{FF2B5EF4-FFF2-40B4-BE49-F238E27FC236}">
                    <a16:creationId xmlns:a16="http://schemas.microsoft.com/office/drawing/2014/main" id="{BDA2B3A2-606B-7971-C0C7-FC8075650818}"/>
                  </a:ext>
                </a:extLst>
              </p:cNvPr>
              <p:cNvGrpSpPr/>
              <p:nvPr/>
            </p:nvGrpSpPr>
            <p:grpSpPr>
              <a:xfrm>
                <a:off x="2349374" y="7389256"/>
                <a:ext cx="326927" cy="43472"/>
                <a:chOff x="9580983" y="2381594"/>
                <a:chExt cx="756086" cy="100539"/>
              </a:xfrm>
            </p:grpSpPr>
            <p:cxnSp>
              <p:nvCxnSpPr>
                <p:cNvPr id="113" name="Straight Connector 112">
                  <a:extLst>
                    <a:ext uri="{FF2B5EF4-FFF2-40B4-BE49-F238E27FC236}">
                      <a16:creationId xmlns:a16="http://schemas.microsoft.com/office/drawing/2014/main" id="{7E13E849-8C30-6E80-5F25-A77A5C705376}"/>
                    </a:ext>
                  </a:extLst>
                </p:cNvPr>
                <p:cNvCxnSpPr>
                  <a:cxnSpLocks/>
                </p:cNvCxnSpPr>
                <p:nvPr/>
              </p:nvCxnSpPr>
              <p:spPr>
                <a:xfrm>
                  <a:off x="9580983" y="2381594"/>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175E074A-ACC2-99EF-F983-C7FE612A631D}"/>
                    </a:ext>
                  </a:extLst>
                </p:cNvPr>
                <p:cNvCxnSpPr>
                  <a:cxnSpLocks/>
                </p:cNvCxnSpPr>
                <p:nvPr/>
              </p:nvCxnSpPr>
              <p:spPr>
                <a:xfrm>
                  <a:off x="9580983" y="2482133"/>
                  <a:ext cx="582202"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2A3A9AAA-A22C-1334-6B7A-7908D7749935}"/>
                  </a:ext>
                </a:extLst>
              </p:cNvPr>
              <p:cNvGrpSpPr/>
              <p:nvPr/>
            </p:nvGrpSpPr>
            <p:grpSpPr>
              <a:xfrm>
                <a:off x="2349374" y="7531053"/>
                <a:ext cx="326927" cy="43472"/>
                <a:chOff x="9580983" y="2381594"/>
                <a:chExt cx="756086" cy="100539"/>
              </a:xfrm>
            </p:grpSpPr>
            <p:cxnSp>
              <p:nvCxnSpPr>
                <p:cNvPr id="111" name="Straight Connector 110">
                  <a:extLst>
                    <a:ext uri="{FF2B5EF4-FFF2-40B4-BE49-F238E27FC236}">
                      <a16:creationId xmlns:a16="http://schemas.microsoft.com/office/drawing/2014/main" id="{A25D93EC-A141-0A15-8EA7-19550ADE47A2}"/>
                    </a:ext>
                  </a:extLst>
                </p:cNvPr>
                <p:cNvCxnSpPr>
                  <a:cxnSpLocks/>
                </p:cNvCxnSpPr>
                <p:nvPr/>
              </p:nvCxnSpPr>
              <p:spPr>
                <a:xfrm>
                  <a:off x="9580983" y="2381594"/>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D20EFD0C-4EA9-14E9-DE56-EE8381D51F2E}"/>
                    </a:ext>
                  </a:extLst>
                </p:cNvPr>
                <p:cNvCxnSpPr>
                  <a:cxnSpLocks/>
                </p:cNvCxnSpPr>
                <p:nvPr/>
              </p:nvCxnSpPr>
              <p:spPr>
                <a:xfrm>
                  <a:off x="9580983" y="2482133"/>
                  <a:ext cx="582202"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ECCFEDCE-809A-5E36-4B95-29752C097B40}"/>
                  </a:ext>
                </a:extLst>
              </p:cNvPr>
              <p:cNvGrpSpPr/>
              <p:nvPr/>
            </p:nvGrpSpPr>
            <p:grpSpPr>
              <a:xfrm>
                <a:off x="2349374" y="7672850"/>
                <a:ext cx="326927" cy="43472"/>
                <a:chOff x="9580983" y="2381594"/>
                <a:chExt cx="756086" cy="100539"/>
              </a:xfrm>
            </p:grpSpPr>
            <p:cxnSp>
              <p:nvCxnSpPr>
                <p:cNvPr id="109" name="Straight Connector 108">
                  <a:extLst>
                    <a:ext uri="{FF2B5EF4-FFF2-40B4-BE49-F238E27FC236}">
                      <a16:creationId xmlns:a16="http://schemas.microsoft.com/office/drawing/2014/main" id="{DDDD251D-C17B-C60C-3FA1-829D47F8C434}"/>
                    </a:ext>
                  </a:extLst>
                </p:cNvPr>
                <p:cNvCxnSpPr>
                  <a:cxnSpLocks/>
                </p:cNvCxnSpPr>
                <p:nvPr/>
              </p:nvCxnSpPr>
              <p:spPr>
                <a:xfrm>
                  <a:off x="9580983" y="2381594"/>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D2D25A21-BAB0-2C9A-AE72-150B0289A448}"/>
                    </a:ext>
                  </a:extLst>
                </p:cNvPr>
                <p:cNvCxnSpPr>
                  <a:cxnSpLocks/>
                </p:cNvCxnSpPr>
                <p:nvPr/>
              </p:nvCxnSpPr>
              <p:spPr>
                <a:xfrm>
                  <a:off x="9580983" y="2482133"/>
                  <a:ext cx="582202"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611CAB84-EDF5-4453-7A0F-B65570B47E13}"/>
                  </a:ext>
                </a:extLst>
              </p:cNvPr>
              <p:cNvGrpSpPr/>
              <p:nvPr/>
            </p:nvGrpSpPr>
            <p:grpSpPr>
              <a:xfrm rot="2053495">
                <a:off x="2727841" y="7370467"/>
                <a:ext cx="91097" cy="506415"/>
                <a:chOff x="8616021" y="2139291"/>
                <a:chExt cx="193740" cy="1077012"/>
              </a:xfrm>
            </p:grpSpPr>
            <p:sp>
              <p:nvSpPr>
                <p:cNvPr id="106" name="Rectangle: Rounded Corners 155">
                  <a:extLst>
                    <a:ext uri="{FF2B5EF4-FFF2-40B4-BE49-F238E27FC236}">
                      <a16:creationId xmlns:a16="http://schemas.microsoft.com/office/drawing/2014/main" id="{947E1F52-4612-157A-5F43-5F8DE9DF452A}"/>
                    </a:ext>
                  </a:extLst>
                </p:cNvPr>
                <p:cNvSpPr/>
                <p:nvPr/>
              </p:nvSpPr>
              <p:spPr>
                <a:xfrm>
                  <a:off x="8633628" y="2394639"/>
                  <a:ext cx="138200" cy="821664"/>
                </a:xfrm>
                <a:custGeom>
                  <a:avLst/>
                  <a:gdLst>
                    <a:gd name="connsiteX0" fmla="*/ 0 w 138200"/>
                    <a:gd name="connsiteY0" fmla="*/ 23034 h 672825"/>
                    <a:gd name="connsiteX1" fmla="*/ 23034 w 138200"/>
                    <a:gd name="connsiteY1" fmla="*/ 0 h 672825"/>
                    <a:gd name="connsiteX2" fmla="*/ 115166 w 138200"/>
                    <a:gd name="connsiteY2" fmla="*/ 0 h 672825"/>
                    <a:gd name="connsiteX3" fmla="*/ 138200 w 138200"/>
                    <a:gd name="connsiteY3" fmla="*/ 23034 h 672825"/>
                    <a:gd name="connsiteX4" fmla="*/ 138200 w 138200"/>
                    <a:gd name="connsiteY4" fmla="*/ 649791 h 672825"/>
                    <a:gd name="connsiteX5" fmla="*/ 115166 w 138200"/>
                    <a:gd name="connsiteY5" fmla="*/ 672825 h 672825"/>
                    <a:gd name="connsiteX6" fmla="*/ 23034 w 138200"/>
                    <a:gd name="connsiteY6" fmla="*/ 672825 h 672825"/>
                    <a:gd name="connsiteX7" fmla="*/ 0 w 138200"/>
                    <a:gd name="connsiteY7" fmla="*/ 649791 h 672825"/>
                    <a:gd name="connsiteX8" fmla="*/ 0 w 138200"/>
                    <a:gd name="connsiteY8" fmla="*/ 23034 h 672825"/>
                    <a:gd name="connsiteX0" fmla="*/ 0 w 138200"/>
                    <a:gd name="connsiteY0" fmla="*/ 23034 h 808556"/>
                    <a:gd name="connsiteX1" fmla="*/ 23034 w 138200"/>
                    <a:gd name="connsiteY1" fmla="*/ 0 h 808556"/>
                    <a:gd name="connsiteX2" fmla="*/ 115166 w 138200"/>
                    <a:gd name="connsiteY2" fmla="*/ 0 h 808556"/>
                    <a:gd name="connsiteX3" fmla="*/ 138200 w 138200"/>
                    <a:gd name="connsiteY3" fmla="*/ 23034 h 808556"/>
                    <a:gd name="connsiteX4" fmla="*/ 138200 w 138200"/>
                    <a:gd name="connsiteY4" fmla="*/ 649791 h 808556"/>
                    <a:gd name="connsiteX5" fmla="*/ 55635 w 138200"/>
                    <a:gd name="connsiteY5" fmla="*/ 808556 h 808556"/>
                    <a:gd name="connsiteX6" fmla="*/ 23034 w 138200"/>
                    <a:gd name="connsiteY6" fmla="*/ 672825 h 808556"/>
                    <a:gd name="connsiteX7" fmla="*/ 0 w 138200"/>
                    <a:gd name="connsiteY7" fmla="*/ 649791 h 808556"/>
                    <a:gd name="connsiteX8" fmla="*/ 0 w 138200"/>
                    <a:gd name="connsiteY8" fmla="*/ 23034 h 808556"/>
                    <a:gd name="connsiteX0" fmla="*/ 0 w 138200"/>
                    <a:gd name="connsiteY0" fmla="*/ 23034 h 791888"/>
                    <a:gd name="connsiteX1" fmla="*/ 23034 w 138200"/>
                    <a:gd name="connsiteY1" fmla="*/ 0 h 791888"/>
                    <a:gd name="connsiteX2" fmla="*/ 115166 w 138200"/>
                    <a:gd name="connsiteY2" fmla="*/ 0 h 791888"/>
                    <a:gd name="connsiteX3" fmla="*/ 138200 w 138200"/>
                    <a:gd name="connsiteY3" fmla="*/ 23034 h 791888"/>
                    <a:gd name="connsiteX4" fmla="*/ 138200 w 138200"/>
                    <a:gd name="connsiteY4" fmla="*/ 649791 h 791888"/>
                    <a:gd name="connsiteX5" fmla="*/ 81828 w 138200"/>
                    <a:gd name="connsiteY5" fmla="*/ 791888 h 791888"/>
                    <a:gd name="connsiteX6" fmla="*/ 23034 w 138200"/>
                    <a:gd name="connsiteY6" fmla="*/ 672825 h 791888"/>
                    <a:gd name="connsiteX7" fmla="*/ 0 w 138200"/>
                    <a:gd name="connsiteY7" fmla="*/ 649791 h 791888"/>
                    <a:gd name="connsiteX8" fmla="*/ 0 w 138200"/>
                    <a:gd name="connsiteY8" fmla="*/ 23034 h 791888"/>
                    <a:gd name="connsiteX0" fmla="*/ 0 w 138200"/>
                    <a:gd name="connsiteY0" fmla="*/ 23034 h 789506"/>
                    <a:gd name="connsiteX1" fmla="*/ 23034 w 138200"/>
                    <a:gd name="connsiteY1" fmla="*/ 0 h 789506"/>
                    <a:gd name="connsiteX2" fmla="*/ 115166 w 138200"/>
                    <a:gd name="connsiteY2" fmla="*/ 0 h 789506"/>
                    <a:gd name="connsiteX3" fmla="*/ 138200 w 138200"/>
                    <a:gd name="connsiteY3" fmla="*/ 23034 h 789506"/>
                    <a:gd name="connsiteX4" fmla="*/ 138200 w 138200"/>
                    <a:gd name="connsiteY4" fmla="*/ 649791 h 789506"/>
                    <a:gd name="connsiteX5" fmla="*/ 77066 w 138200"/>
                    <a:gd name="connsiteY5" fmla="*/ 789506 h 789506"/>
                    <a:gd name="connsiteX6" fmla="*/ 23034 w 138200"/>
                    <a:gd name="connsiteY6" fmla="*/ 672825 h 789506"/>
                    <a:gd name="connsiteX7" fmla="*/ 0 w 138200"/>
                    <a:gd name="connsiteY7" fmla="*/ 649791 h 789506"/>
                    <a:gd name="connsiteX8" fmla="*/ 0 w 138200"/>
                    <a:gd name="connsiteY8" fmla="*/ 23034 h 789506"/>
                    <a:gd name="connsiteX0" fmla="*/ 0 w 138200"/>
                    <a:gd name="connsiteY0" fmla="*/ 23034 h 794269"/>
                    <a:gd name="connsiteX1" fmla="*/ 23034 w 138200"/>
                    <a:gd name="connsiteY1" fmla="*/ 0 h 794269"/>
                    <a:gd name="connsiteX2" fmla="*/ 115166 w 138200"/>
                    <a:gd name="connsiteY2" fmla="*/ 0 h 794269"/>
                    <a:gd name="connsiteX3" fmla="*/ 138200 w 138200"/>
                    <a:gd name="connsiteY3" fmla="*/ 23034 h 794269"/>
                    <a:gd name="connsiteX4" fmla="*/ 138200 w 138200"/>
                    <a:gd name="connsiteY4" fmla="*/ 649791 h 794269"/>
                    <a:gd name="connsiteX5" fmla="*/ 77066 w 138200"/>
                    <a:gd name="connsiteY5" fmla="*/ 789506 h 794269"/>
                    <a:gd name="connsiteX6" fmla="*/ 77802 w 138200"/>
                    <a:gd name="connsiteY6" fmla="*/ 794269 h 794269"/>
                    <a:gd name="connsiteX7" fmla="*/ 0 w 138200"/>
                    <a:gd name="connsiteY7" fmla="*/ 649791 h 794269"/>
                    <a:gd name="connsiteX8" fmla="*/ 0 w 138200"/>
                    <a:gd name="connsiteY8" fmla="*/ 23034 h 794269"/>
                    <a:gd name="connsiteX0" fmla="*/ 0 w 138200"/>
                    <a:gd name="connsiteY0" fmla="*/ 23034 h 794269"/>
                    <a:gd name="connsiteX1" fmla="*/ 23034 w 138200"/>
                    <a:gd name="connsiteY1" fmla="*/ 0 h 794269"/>
                    <a:gd name="connsiteX2" fmla="*/ 115166 w 138200"/>
                    <a:gd name="connsiteY2" fmla="*/ 0 h 794269"/>
                    <a:gd name="connsiteX3" fmla="*/ 138200 w 138200"/>
                    <a:gd name="connsiteY3" fmla="*/ 23034 h 794269"/>
                    <a:gd name="connsiteX4" fmla="*/ 138200 w 138200"/>
                    <a:gd name="connsiteY4" fmla="*/ 649791 h 794269"/>
                    <a:gd name="connsiteX5" fmla="*/ 77066 w 138200"/>
                    <a:gd name="connsiteY5" fmla="*/ 789506 h 794269"/>
                    <a:gd name="connsiteX6" fmla="*/ 63514 w 138200"/>
                    <a:gd name="connsiteY6" fmla="*/ 794269 h 794269"/>
                    <a:gd name="connsiteX7" fmla="*/ 0 w 138200"/>
                    <a:gd name="connsiteY7" fmla="*/ 649791 h 794269"/>
                    <a:gd name="connsiteX8" fmla="*/ 0 w 138200"/>
                    <a:gd name="connsiteY8" fmla="*/ 23034 h 794269"/>
                    <a:gd name="connsiteX0" fmla="*/ 0 w 138200"/>
                    <a:gd name="connsiteY0" fmla="*/ 23034 h 799031"/>
                    <a:gd name="connsiteX1" fmla="*/ 23034 w 138200"/>
                    <a:gd name="connsiteY1" fmla="*/ 0 h 799031"/>
                    <a:gd name="connsiteX2" fmla="*/ 115166 w 138200"/>
                    <a:gd name="connsiteY2" fmla="*/ 0 h 799031"/>
                    <a:gd name="connsiteX3" fmla="*/ 138200 w 138200"/>
                    <a:gd name="connsiteY3" fmla="*/ 23034 h 799031"/>
                    <a:gd name="connsiteX4" fmla="*/ 138200 w 138200"/>
                    <a:gd name="connsiteY4" fmla="*/ 649791 h 799031"/>
                    <a:gd name="connsiteX5" fmla="*/ 72303 w 138200"/>
                    <a:gd name="connsiteY5" fmla="*/ 799031 h 799031"/>
                    <a:gd name="connsiteX6" fmla="*/ 63514 w 138200"/>
                    <a:gd name="connsiteY6" fmla="*/ 794269 h 799031"/>
                    <a:gd name="connsiteX7" fmla="*/ 0 w 138200"/>
                    <a:gd name="connsiteY7" fmla="*/ 649791 h 799031"/>
                    <a:gd name="connsiteX8" fmla="*/ 0 w 138200"/>
                    <a:gd name="connsiteY8" fmla="*/ 23034 h 799031"/>
                    <a:gd name="connsiteX0" fmla="*/ 0 w 138200"/>
                    <a:gd name="connsiteY0" fmla="*/ 23034 h 805847"/>
                    <a:gd name="connsiteX1" fmla="*/ 23034 w 138200"/>
                    <a:gd name="connsiteY1" fmla="*/ 0 h 805847"/>
                    <a:gd name="connsiteX2" fmla="*/ 115166 w 138200"/>
                    <a:gd name="connsiteY2" fmla="*/ 0 h 805847"/>
                    <a:gd name="connsiteX3" fmla="*/ 138200 w 138200"/>
                    <a:gd name="connsiteY3" fmla="*/ 23034 h 805847"/>
                    <a:gd name="connsiteX4" fmla="*/ 138200 w 138200"/>
                    <a:gd name="connsiteY4" fmla="*/ 649791 h 805847"/>
                    <a:gd name="connsiteX5" fmla="*/ 72303 w 138200"/>
                    <a:gd name="connsiteY5" fmla="*/ 799031 h 805847"/>
                    <a:gd name="connsiteX6" fmla="*/ 68277 w 138200"/>
                    <a:gd name="connsiteY6" fmla="*/ 805847 h 805847"/>
                    <a:gd name="connsiteX7" fmla="*/ 0 w 138200"/>
                    <a:gd name="connsiteY7" fmla="*/ 649791 h 805847"/>
                    <a:gd name="connsiteX8" fmla="*/ 0 w 138200"/>
                    <a:gd name="connsiteY8" fmla="*/ 23034 h 805847"/>
                    <a:gd name="connsiteX0" fmla="*/ 0 w 138200"/>
                    <a:gd name="connsiteY0" fmla="*/ 23034 h 799031"/>
                    <a:gd name="connsiteX1" fmla="*/ 23034 w 138200"/>
                    <a:gd name="connsiteY1" fmla="*/ 0 h 799031"/>
                    <a:gd name="connsiteX2" fmla="*/ 115166 w 138200"/>
                    <a:gd name="connsiteY2" fmla="*/ 0 h 799031"/>
                    <a:gd name="connsiteX3" fmla="*/ 138200 w 138200"/>
                    <a:gd name="connsiteY3" fmla="*/ 23034 h 799031"/>
                    <a:gd name="connsiteX4" fmla="*/ 138200 w 138200"/>
                    <a:gd name="connsiteY4" fmla="*/ 649791 h 799031"/>
                    <a:gd name="connsiteX5" fmla="*/ 72303 w 138200"/>
                    <a:gd name="connsiteY5" fmla="*/ 799031 h 799031"/>
                    <a:gd name="connsiteX6" fmla="*/ 70658 w 138200"/>
                    <a:gd name="connsiteY6" fmla="*/ 798901 h 799031"/>
                    <a:gd name="connsiteX7" fmla="*/ 0 w 138200"/>
                    <a:gd name="connsiteY7" fmla="*/ 649791 h 799031"/>
                    <a:gd name="connsiteX8" fmla="*/ 0 w 138200"/>
                    <a:gd name="connsiteY8" fmla="*/ 23034 h 7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200" h="799031">
                      <a:moveTo>
                        <a:pt x="0" y="23034"/>
                      </a:moveTo>
                      <a:cubicBezTo>
                        <a:pt x="0" y="10313"/>
                        <a:pt x="10313" y="0"/>
                        <a:pt x="23034" y="0"/>
                      </a:cubicBezTo>
                      <a:lnTo>
                        <a:pt x="115166" y="0"/>
                      </a:lnTo>
                      <a:cubicBezTo>
                        <a:pt x="127887" y="0"/>
                        <a:pt x="138200" y="10313"/>
                        <a:pt x="138200" y="23034"/>
                      </a:cubicBezTo>
                      <a:lnTo>
                        <a:pt x="138200" y="649791"/>
                      </a:lnTo>
                      <a:cubicBezTo>
                        <a:pt x="138200" y="662512"/>
                        <a:pt x="85024" y="799031"/>
                        <a:pt x="72303" y="799031"/>
                      </a:cubicBezTo>
                      <a:cubicBezTo>
                        <a:pt x="41592" y="799031"/>
                        <a:pt x="101369" y="798901"/>
                        <a:pt x="70658" y="798901"/>
                      </a:cubicBezTo>
                      <a:cubicBezTo>
                        <a:pt x="57937" y="798901"/>
                        <a:pt x="0" y="662512"/>
                        <a:pt x="0" y="649791"/>
                      </a:cubicBezTo>
                      <a:lnTo>
                        <a:pt x="0" y="23034"/>
                      </a:lnTo>
                      <a:close/>
                    </a:path>
                  </a:pathLst>
                </a:cu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107" name="Rectangle: Rounded Corners 473">
                  <a:extLst>
                    <a:ext uri="{FF2B5EF4-FFF2-40B4-BE49-F238E27FC236}">
                      <a16:creationId xmlns:a16="http://schemas.microsoft.com/office/drawing/2014/main" id="{489A3012-2246-4A8A-223F-ED12B4098269}"/>
                    </a:ext>
                  </a:extLst>
                </p:cNvPr>
                <p:cNvSpPr/>
                <p:nvPr/>
              </p:nvSpPr>
              <p:spPr>
                <a:xfrm>
                  <a:off x="8616021" y="2139291"/>
                  <a:ext cx="173415" cy="442906"/>
                </a:xfrm>
                <a:prstGeom prst="round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108" name="Rectangle: Rounded Corners 474">
                  <a:extLst>
                    <a:ext uri="{FF2B5EF4-FFF2-40B4-BE49-F238E27FC236}">
                      <a16:creationId xmlns:a16="http://schemas.microsoft.com/office/drawing/2014/main" id="{639C1515-8F72-7365-2ED0-412B4A288B39}"/>
                    </a:ext>
                  </a:extLst>
                </p:cNvPr>
                <p:cNvSpPr/>
                <p:nvPr/>
              </p:nvSpPr>
              <p:spPr>
                <a:xfrm>
                  <a:off x="8751503" y="2259450"/>
                  <a:ext cx="58258" cy="180378"/>
                </a:xfrm>
                <a:prstGeom prst="round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sp>
            <p:nvSpPr>
              <p:cNvPr id="105" name="Freeform: Shape 471">
                <a:extLst>
                  <a:ext uri="{FF2B5EF4-FFF2-40B4-BE49-F238E27FC236}">
                    <a16:creationId xmlns:a16="http://schemas.microsoft.com/office/drawing/2014/main" id="{05F2D1BC-6B17-7CDC-00F2-2042C987B6CB}"/>
                  </a:ext>
                </a:extLst>
              </p:cNvPr>
              <p:cNvSpPr/>
              <p:nvPr/>
            </p:nvSpPr>
            <p:spPr>
              <a:xfrm>
                <a:off x="2364808" y="7808741"/>
                <a:ext cx="266632" cy="120401"/>
              </a:xfrm>
              <a:custGeom>
                <a:avLst/>
                <a:gdLst>
                  <a:gd name="connsiteX0" fmla="*/ 38032 w 266632"/>
                  <a:gd name="connsiteY0" fmla="*/ 31898 h 120401"/>
                  <a:gd name="connsiteX1" fmla="*/ 22083 w 266632"/>
                  <a:gd name="connsiteY1" fmla="*/ 85061 h 120401"/>
                  <a:gd name="connsiteX2" fmla="*/ 6134 w 266632"/>
                  <a:gd name="connsiteY2" fmla="*/ 90377 h 120401"/>
                  <a:gd name="connsiteX3" fmla="*/ 16766 w 266632"/>
                  <a:gd name="connsiteY3" fmla="*/ 26582 h 120401"/>
                  <a:gd name="connsiteX4" fmla="*/ 53980 w 266632"/>
                  <a:gd name="connsiteY4" fmla="*/ 10633 h 120401"/>
                  <a:gd name="connsiteX5" fmla="*/ 128408 w 266632"/>
                  <a:gd name="connsiteY5" fmla="*/ 31898 h 120401"/>
                  <a:gd name="connsiteX6" fmla="*/ 139041 w 266632"/>
                  <a:gd name="connsiteY6" fmla="*/ 63796 h 120401"/>
                  <a:gd name="connsiteX7" fmla="*/ 91194 w 266632"/>
                  <a:gd name="connsiteY7" fmla="*/ 95693 h 120401"/>
                  <a:gd name="connsiteX8" fmla="*/ 139041 w 266632"/>
                  <a:gd name="connsiteY8" fmla="*/ 53163 h 120401"/>
                  <a:gd name="connsiteX9" fmla="*/ 250683 w 266632"/>
                  <a:gd name="connsiteY9" fmla="*/ 42530 h 120401"/>
                  <a:gd name="connsiteX10" fmla="*/ 266632 w 266632"/>
                  <a:gd name="connsiteY10" fmla="*/ 0 h 120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632" h="120401">
                    <a:moveTo>
                      <a:pt x="38032" y="31898"/>
                    </a:moveTo>
                    <a:cubicBezTo>
                      <a:pt x="35706" y="48181"/>
                      <a:pt x="37680" y="72583"/>
                      <a:pt x="22083" y="85061"/>
                    </a:cubicBezTo>
                    <a:cubicBezTo>
                      <a:pt x="17707" y="88562"/>
                      <a:pt x="11450" y="88605"/>
                      <a:pt x="6134" y="90377"/>
                    </a:cubicBezTo>
                    <a:cubicBezTo>
                      <a:pt x="-109" y="65402"/>
                      <a:pt x="-7435" y="53203"/>
                      <a:pt x="16766" y="26582"/>
                    </a:cubicBezTo>
                    <a:cubicBezTo>
                      <a:pt x="25844" y="16596"/>
                      <a:pt x="41575" y="15949"/>
                      <a:pt x="53980" y="10633"/>
                    </a:cubicBezTo>
                    <a:cubicBezTo>
                      <a:pt x="75523" y="13027"/>
                      <a:pt x="111617" y="10309"/>
                      <a:pt x="128408" y="31898"/>
                    </a:cubicBezTo>
                    <a:cubicBezTo>
                      <a:pt x="135289" y="40745"/>
                      <a:pt x="135497" y="53163"/>
                      <a:pt x="139041" y="63796"/>
                    </a:cubicBezTo>
                    <a:cubicBezTo>
                      <a:pt x="138657" y="66869"/>
                      <a:pt x="140687" y="164982"/>
                      <a:pt x="91194" y="95693"/>
                    </a:cubicBezTo>
                    <a:cubicBezTo>
                      <a:pt x="77657" y="76741"/>
                      <a:pt x="138861" y="53229"/>
                      <a:pt x="139041" y="53163"/>
                    </a:cubicBezTo>
                    <a:cubicBezTo>
                      <a:pt x="163896" y="44125"/>
                      <a:pt x="249616" y="42597"/>
                      <a:pt x="250683" y="42530"/>
                    </a:cubicBezTo>
                    <a:cubicBezTo>
                      <a:pt x="266327" y="19063"/>
                      <a:pt x="260062" y="32847"/>
                      <a:pt x="266632" y="0"/>
                    </a:cubicBezTo>
                  </a:path>
                </a:pathLst>
              </a:cu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28" name="Group 327"/>
          <p:cNvGrpSpPr/>
          <p:nvPr/>
        </p:nvGrpSpPr>
        <p:grpSpPr>
          <a:xfrm>
            <a:off x="8378144" y="4326359"/>
            <a:ext cx="1661455" cy="1925904"/>
            <a:chOff x="8162876" y="4540282"/>
            <a:chExt cx="1661455" cy="1925904"/>
          </a:xfrm>
        </p:grpSpPr>
        <p:sp>
          <p:nvSpPr>
            <p:cNvPr id="24" name="Rectangle: Rounded Corners 25">
              <a:extLst>
                <a:ext uri="{FF2B5EF4-FFF2-40B4-BE49-F238E27FC236}">
                  <a16:creationId xmlns:a16="http://schemas.microsoft.com/office/drawing/2014/main" id="{ADD2DD88-F486-829B-1F0E-419FAD0E3D62}"/>
                </a:ext>
              </a:extLst>
            </p:cNvPr>
            <p:cNvSpPr/>
            <p:nvPr/>
          </p:nvSpPr>
          <p:spPr>
            <a:xfrm>
              <a:off x="8217976" y="4540282"/>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35" name="TextBox 34">
              <a:extLst>
                <a:ext uri="{FF2B5EF4-FFF2-40B4-BE49-F238E27FC236}">
                  <a16:creationId xmlns:a16="http://schemas.microsoft.com/office/drawing/2014/main" id="{9F6233EA-F15B-C68E-99E4-BC67DE179572}"/>
                </a:ext>
              </a:extLst>
            </p:cNvPr>
            <p:cNvSpPr txBox="1"/>
            <p:nvPr/>
          </p:nvSpPr>
          <p:spPr>
            <a:xfrm>
              <a:off x="8201536" y="5703365"/>
              <a:ext cx="1606355" cy="600164"/>
            </a:xfrm>
            <a:prstGeom prst="rect">
              <a:avLst/>
            </a:prstGeom>
            <a:noFill/>
          </p:spPr>
          <p:txBody>
            <a:bodyPr wrap="square">
              <a:spAutoFit/>
            </a:bodyPr>
            <a:lstStyle/>
            <a:p>
              <a:pPr marR="0" lvl="0" algn="ctr">
                <a:spcBef>
                  <a:spcPts val="0"/>
                </a:spcBef>
                <a:spcAft>
                  <a:spcPts val="0"/>
                </a:spcAft>
              </a:pPr>
              <a:r>
                <a:rPr lang="en-US" sz="1100">
                  <a:effectLst/>
                  <a:ea typeface="Times New Roman" panose="02020603050405020304" pitchFamily="18" charset="0"/>
                </a:rPr>
                <a:t>Winners get fixed premium IF support based on the contract</a:t>
              </a:r>
            </a:p>
          </p:txBody>
        </p:sp>
        <p:sp>
          <p:nvSpPr>
            <p:cNvPr id="42" name="Titel 1">
              <a:extLst>
                <a:ext uri="{FF2B5EF4-FFF2-40B4-BE49-F238E27FC236}">
                  <a16:creationId xmlns:a16="http://schemas.microsoft.com/office/drawing/2014/main" id="{6637E866-FADE-63B1-7606-8D761AB911B7}"/>
                </a:ext>
              </a:extLst>
            </p:cNvPr>
            <p:cNvSpPr txBox="1">
              <a:spLocks/>
            </p:cNvSpPr>
            <p:nvPr/>
          </p:nvSpPr>
          <p:spPr>
            <a:xfrm>
              <a:off x="8162876" y="4585386"/>
              <a:ext cx="520767"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10</a:t>
              </a:r>
            </a:p>
          </p:txBody>
        </p:sp>
        <p:grpSp>
          <p:nvGrpSpPr>
            <p:cNvPr id="115" name="Group 114">
              <a:extLst>
                <a:ext uri="{FF2B5EF4-FFF2-40B4-BE49-F238E27FC236}">
                  <a16:creationId xmlns:a16="http://schemas.microsoft.com/office/drawing/2014/main" id="{8EB22B94-0071-B36B-3C1C-2FF4877951E7}"/>
                </a:ext>
              </a:extLst>
            </p:cNvPr>
            <p:cNvGrpSpPr/>
            <p:nvPr/>
          </p:nvGrpSpPr>
          <p:grpSpPr>
            <a:xfrm>
              <a:off x="8723694" y="4839707"/>
              <a:ext cx="941060" cy="756327"/>
              <a:chOff x="3957502" y="7177198"/>
              <a:chExt cx="941060" cy="756327"/>
            </a:xfrm>
          </p:grpSpPr>
          <p:sp>
            <p:nvSpPr>
              <p:cNvPr id="116" name="Rectangle: Rounded Corners 482">
                <a:extLst>
                  <a:ext uri="{FF2B5EF4-FFF2-40B4-BE49-F238E27FC236}">
                    <a16:creationId xmlns:a16="http://schemas.microsoft.com/office/drawing/2014/main" id="{0FA77180-ED23-7B84-1F42-741530ED664E}"/>
                  </a:ext>
                </a:extLst>
              </p:cNvPr>
              <p:cNvSpPr/>
              <p:nvPr/>
            </p:nvSpPr>
            <p:spPr>
              <a:xfrm>
                <a:off x="3957502" y="7177198"/>
                <a:ext cx="590251" cy="756327"/>
              </a:xfrm>
              <a:prstGeom prst="round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117" name="Rectangle: Rounded Corners 483">
                <a:extLst>
                  <a:ext uri="{FF2B5EF4-FFF2-40B4-BE49-F238E27FC236}">
                    <a16:creationId xmlns:a16="http://schemas.microsoft.com/office/drawing/2014/main" id="{9A72F5AA-D6F8-2B79-8AAB-A9B38D561290}"/>
                  </a:ext>
                </a:extLst>
              </p:cNvPr>
              <p:cNvSpPr/>
              <p:nvPr/>
            </p:nvSpPr>
            <p:spPr>
              <a:xfrm>
                <a:off x="3989280" y="7216263"/>
                <a:ext cx="527989" cy="677463"/>
              </a:xfrm>
              <a:prstGeom prst="round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nvGrpSpPr>
              <p:cNvPr id="118" name="Group 117">
                <a:extLst>
                  <a:ext uri="{FF2B5EF4-FFF2-40B4-BE49-F238E27FC236}">
                    <a16:creationId xmlns:a16="http://schemas.microsoft.com/office/drawing/2014/main" id="{A7341D6A-5DCB-F0C9-C640-6795A7FF0298}"/>
                  </a:ext>
                </a:extLst>
              </p:cNvPr>
              <p:cNvGrpSpPr/>
              <p:nvPr/>
            </p:nvGrpSpPr>
            <p:grpSpPr>
              <a:xfrm>
                <a:off x="4050808" y="7336648"/>
                <a:ext cx="326927" cy="275059"/>
                <a:chOff x="9498741" y="1045848"/>
                <a:chExt cx="756086" cy="275059"/>
              </a:xfrm>
            </p:grpSpPr>
            <p:cxnSp>
              <p:nvCxnSpPr>
                <p:cNvPr id="133" name="Straight Connector 132">
                  <a:extLst>
                    <a:ext uri="{FF2B5EF4-FFF2-40B4-BE49-F238E27FC236}">
                      <a16:creationId xmlns:a16="http://schemas.microsoft.com/office/drawing/2014/main" id="{B3E4A34C-1C2D-641E-8A58-694A8519DBA4}"/>
                    </a:ext>
                  </a:extLst>
                </p:cNvPr>
                <p:cNvCxnSpPr>
                  <a:cxnSpLocks/>
                </p:cNvCxnSpPr>
                <p:nvPr/>
              </p:nvCxnSpPr>
              <p:spPr>
                <a:xfrm>
                  <a:off x="9498741" y="1045848"/>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4E6DE7B2-64FA-8F14-81D0-B6FACE05A632}"/>
                    </a:ext>
                  </a:extLst>
                </p:cNvPr>
                <p:cNvCxnSpPr>
                  <a:cxnSpLocks/>
                </p:cNvCxnSpPr>
                <p:nvPr/>
              </p:nvCxnSpPr>
              <p:spPr>
                <a:xfrm>
                  <a:off x="9562692" y="1320907"/>
                  <a:ext cx="582203"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B784BF19-961E-60EF-7B7D-5692B46BA4A3}"/>
                  </a:ext>
                </a:extLst>
              </p:cNvPr>
              <p:cNvGrpSpPr/>
              <p:nvPr/>
            </p:nvGrpSpPr>
            <p:grpSpPr>
              <a:xfrm>
                <a:off x="4050807" y="7475312"/>
                <a:ext cx="326927" cy="69313"/>
                <a:chOff x="9498739" y="1042715"/>
                <a:chExt cx="756086" cy="69313"/>
              </a:xfrm>
            </p:grpSpPr>
            <p:cxnSp>
              <p:nvCxnSpPr>
                <p:cNvPr id="131" name="Straight Connector 130">
                  <a:extLst>
                    <a:ext uri="{FF2B5EF4-FFF2-40B4-BE49-F238E27FC236}">
                      <a16:creationId xmlns:a16="http://schemas.microsoft.com/office/drawing/2014/main" id="{26690231-3109-7C51-0BF8-26A2F4952B89}"/>
                    </a:ext>
                  </a:extLst>
                </p:cNvPr>
                <p:cNvCxnSpPr>
                  <a:cxnSpLocks/>
                </p:cNvCxnSpPr>
                <p:nvPr/>
              </p:nvCxnSpPr>
              <p:spPr>
                <a:xfrm>
                  <a:off x="9498739" y="1112028"/>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6C060A81-471B-3D26-3A57-81495655FF0D}"/>
                    </a:ext>
                  </a:extLst>
                </p:cNvPr>
                <p:cNvCxnSpPr>
                  <a:cxnSpLocks/>
                </p:cNvCxnSpPr>
                <p:nvPr/>
              </p:nvCxnSpPr>
              <p:spPr>
                <a:xfrm>
                  <a:off x="9562692" y="1042715"/>
                  <a:ext cx="582203"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01EF306B-D6F6-3576-1AFA-31DC44C6C41C}"/>
                  </a:ext>
                </a:extLst>
              </p:cNvPr>
              <p:cNvGrpSpPr/>
              <p:nvPr/>
            </p:nvGrpSpPr>
            <p:grpSpPr>
              <a:xfrm>
                <a:off x="4062362" y="7398943"/>
                <a:ext cx="326927" cy="276674"/>
                <a:chOff x="9525462" y="824549"/>
                <a:chExt cx="756086" cy="276674"/>
              </a:xfrm>
            </p:grpSpPr>
            <p:cxnSp>
              <p:nvCxnSpPr>
                <p:cNvPr id="129" name="Straight Connector 128">
                  <a:extLst>
                    <a:ext uri="{FF2B5EF4-FFF2-40B4-BE49-F238E27FC236}">
                      <a16:creationId xmlns:a16="http://schemas.microsoft.com/office/drawing/2014/main" id="{ECAAB1BA-190C-1067-2D66-1DBDF3A358AB}"/>
                    </a:ext>
                  </a:extLst>
                </p:cNvPr>
                <p:cNvCxnSpPr>
                  <a:cxnSpLocks/>
                </p:cNvCxnSpPr>
                <p:nvPr/>
              </p:nvCxnSpPr>
              <p:spPr>
                <a:xfrm>
                  <a:off x="9525462" y="824549"/>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A5BF02-2D50-8A50-C14B-B8420282B15D}"/>
                    </a:ext>
                  </a:extLst>
                </p:cNvPr>
                <p:cNvCxnSpPr>
                  <a:cxnSpLocks/>
                </p:cNvCxnSpPr>
                <p:nvPr/>
              </p:nvCxnSpPr>
              <p:spPr>
                <a:xfrm>
                  <a:off x="9597785" y="1101223"/>
                  <a:ext cx="582203"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1" name="Freeform: Shape 487">
                <a:extLst>
                  <a:ext uri="{FF2B5EF4-FFF2-40B4-BE49-F238E27FC236}">
                    <a16:creationId xmlns:a16="http://schemas.microsoft.com/office/drawing/2014/main" id="{02896FDA-C31F-79AB-10BC-1913CFA57F7A}"/>
                  </a:ext>
                </a:extLst>
              </p:cNvPr>
              <p:cNvSpPr/>
              <p:nvPr/>
            </p:nvSpPr>
            <p:spPr>
              <a:xfrm>
                <a:off x="4101803" y="7740061"/>
                <a:ext cx="266632" cy="120401"/>
              </a:xfrm>
              <a:custGeom>
                <a:avLst/>
                <a:gdLst>
                  <a:gd name="connsiteX0" fmla="*/ 38032 w 266632"/>
                  <a:gd name="connsiteY0" fmla="*/ 31898 h 120401"/>
                  <a:gd name="connsiteX1" fmla="*/ 22083 w 266632"/>
                  <a:gd name="connsiteY1" fmla="*/ 85061 h 120401"/>
                  <a:gd name="connsiteX2" fmla="*/ 6134 w 266632"/>
                  <a:gd name="connsiteY2" fmla="*/ 90377 h 120401"/>
                  <a:gd name="connsiteX3" fmla="*/ 16766 w 266632"/>
                  <a:gd name="connsiteY3" fmla="*/ 26582 h 120401"/>
                  <a:gd name="connsiteX4" fmla="*/ 53980 w 266632"/>
                  <a:gd name="connsiteY4" fmla="*/ 10633 h 120401"/>
                  <a:gd name="connsiteX5" fmla="*/ 128408 w 266632"/>
                  <a:gd name="connsiteY5" fmla="*/ 31898 h 120401"/>
                  <a:gd name="connsiteX6" fmla="*/ 139041 w 266632"/>
                  <a:gd name="connsiteY6" fmla="*/ 63796 h 120401"/>
                  <a:gd name="connsiteX7" fmla="*/ 91194 w 266632"/>
                  <a:gd name="connsiteY7" fmla="*/ 95693 h 120401"/>
                  <a:gd name="connsiteX8" fmla="*/ 139041 w 266632"/>
                  <a:gd name="connsiteY8" fmla="*/ 53163 h 120401"/>
                  <a:gd name="connsiteX9" fmla="*/ 250683 w 266632"/>
                  <a:gd name="connsiteY9" fmla="*/ 42530 h 120401"/>
                  <a:gd name="connsiteX10" fmla="*/ 266632 w 266632"/>
                  <a:gd name="connsiteY10" fmla="*/ 0 h 120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632" h="120401">
                    <a:moveTo>
                      <a:pt x="38032" y="31898"/>
                    </a:moveTo>
                    <a:cubicBezTo>
                      <a:pt x="35706" y="48181"/>
                      <a:pt x="37680" y="72583"/>
                      <a:pt x="22083" y="85061"/>
                    </a:cubicBezTo>
                    <a:cubicBezTo>
                      <a:pt x="17707" y="88562"/>
                      <a:pt x="11450" y="88605"/>
                      <a:pt x="6134" y="90377"/>
                    </a:cubicBezTo>
                    <a:cubicBezTo>
                      <a:pt x="-109" y="65402"/>
                      <a:pt x="-7435" y="53203"/>
                      <a:pt x="16766" y="26582"/>
                    </a:cubicBezTo>
                    <a:cubicBezTo>
                      <a:pt x="25844" y="16596"/>
                      <a:pt x="41575" y="15949"/>
                      <a:pt x="53980" y="10633"/>
                    </a:cubicBezTo>
                    <a:cubicBezTo>
                      <a:pt x="75523" y="13027"/>
                      <a:pt x="111617" y="10309"/>
                      <a:pt x="128408" y="31898"/>
                    </a:cubicBezTo>
                    <a:cubicBezTo>
                      <a:pt x="135289" y="40745"/>
                      <a:pt x="135497" y="53163"/>
                      <a:pt x="139041" y="63796"/>
                    </a:cubicBezTo>
                    <a:cubicBezTo>
                      <a:pt x="138657" y="66869"/>
                      <a:pt x="140687" y="164982"/>
                      <a:pt x="91194" y="95693"/>
                    </a:cubicBezTo>
                    <a:cubicBezTo>
                      <a:pt x="77657" y="76741"/>
                      <a:pt x="138861" y="53229"/>
                      <a:pt x="139041" y="53163"/>
                    </a:cubicBezTo>
                    <a:cubicBezTo>
                      <a:pt x="163896" y="44125"/>
                      <a:pt x="249616" y="42597"/>
                      <a:pt x="250683" y="42530"/>
                    </a:cubicBezTo>
                    <a:cubicBezTo>
                      <a:pt x="266327" y="19063"/>
                      <a:pt x="260062" y="32847"/>
                      <a:pt x="266632" y="0"/>
                    </a:cubicBezTo>
                  </a:path>
                </a:pathLst>
              </a:custGeom>
              <a:no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2" name="Group 121">
                <a:extLst>
                  <a:ext uri="{FF2B5EF4-FFF2-40B4-BE49-F238E27FC236}">
                    <a16:creationId xmlns:a16="http://schemas.microsoft.com/office/drawing/2014/main" id="{766719B2-49CD-F12B-D739-96128A10D25A}"/>
                  </a:ext>
                </a:extLst>
              </p:cNvPr>
              <p:cNvGrpSpPr/>
              <p:nvPr/>
            </p:nvGrpSpPr>
            <p:grpSpPr>
              <a:xfrm>
                <a:off x="4335306" y="7616694"/>
                <a:ext cx="563256" cy="180173"/>
                <a:chOff x="3845245" y="5711161"/>
                <a:chExt cx="1182861" cy="378372"/>
              </a:xfrm>
            </p:grpSpPr>
            <p:sp>
              <p:nvSpPr>
                <p:cNvPr id="123" name="Oval 122">
                  <a:extLst>
                    <a:ext uri="{FF2B5EF4-FFF2-40B4-BE49-F238E27FC236}">
                      <a16:creationId xmlns:a16="http://schemas.microsoft.com/office/drawing/2014/main" id="{3320567B-C272-60F4-1D8B-985D1AF3283C}"/>
                    </a:ext>
                  </a:extLst>
                </p:cNvPr>
                <p:cNvSpPr/>
                <p:nvPr/>
              </p:nvSpPr>
              <p:spPr>
                <a:xfrm>
                  <a:off x="3845245" y="5711161"/>
                  <a:ext cx="370920" cy="370920"/>
                </a:xfrm>
                <a:prstGeom prst="ellipse">
                  <a:avLst/>
                </a:prstGeom>
                <a:solidFill>
                  <a:srgbClr val="FDB91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pic>
              <p:nvPicPr>
                <p:cNvPr id="124" name="Graphic 490" descr="Euro with solid fill">
                  <a:extLst>
                    <a:ext uri="{FF2B5EF4-FFF2-40B4-BE49-F238E27FC236}">
                      <a16:creationId xmlns:a16="http://schemas.microsoft.com/office/drawing/2014/main" id="{3257E617-4006-24B8-D0A1-6F914CE371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52514" y="5736458"/>
                  <a:ext cx="320325" cy="320325"/>
                </a:xfrm>
                <a:prstGeom prst="rect">
                  <a:avLst/>
                </a:prstGeom>
              </p:spPr>
            </p:pic>
            <p:sp>
              <p:nvSpPr>
                <p:cNvPr id="125" name="Oval 124">
                  <a:extLst>
                    <a:ext uri="{FF2B5EF4-FFF2-40B4-BE49-F238E27FC236}">
                      <a16:creationId xmlns:a16="http://schemas.microsoft.com/office/drawing/2014/main" id="{D0CD26DD-34B8-72FB-CEDA-0C18E2EEE406}"/>
                    </a:ext>
                  </a:extLst>
                </p:cNvPr>
                <p:cNvSpPr/>
                <p:nvPr/>
              </p:nvSpPr>
              <p:spPr>
                <a:xfrm>
                  <a:off x="4253113" y="5718613"/>
                  <a:ext cx="370920" cy="370920"/>
                </a:xfrm>
                <a:prstGeom prst="ellipse">
                  <a:avLst/>
                </a:prstGeom>
                <a:solidFill>
                  <a:srgbClr val="FDB91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pic>
              <p:nvPicPr>
                <p:cNvPr id="126" name="Graphic 492" descr="Euro with solid fill">
                  <a:extLst>
                    <a:ext uri="{FF2B5EF4-FFF2-40B4-BE49-F238E27FC236}">
                      <a16:creationId xmlns:a16="http://schemas.microsoft.com/office/drawing/2014/main" id="{44FCA320-ED2E-1917-7371-81A75D8F14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60382" y="5743910"/>
                  <a:ext cx="320325" cy="320325"/>
                </a:xfrm>
                <a:prstGeom prst="rect">
                  <a:avLst/>
                </a:prstGeom>
              </p:spPr>
            </p:pic>
            <p:sp>
              <p:nvSpPr>
                <p:cNvPr id="127" name="Oval 126">
                  <a:extLst>
                    <a:ext uri="{FF2B5EF4-FFF2-40B4-BE49-F238E27FC236}">
                      <a16:creationId xmlns:a16="http://schemas.microsoft.com/office/drawing/2014/main" id="{84F14BA3-F2E3-ECC8-97AC-3501A072974E}"/>
                    </a:ext>
                  </a:extLst>
                </p:cNvPr>
                <p:cNvSpPr/>
                <p:nvPr/>
              </p:nvSpPr>
              <p:spPr>
                <a:xfrm>
                  <a:off x="4657186" y="5718613"/>
                  <a:ext cx="370920" cy="370920"/>
                </a:xfrm>
                <a:prstGeom prst="ellipse">
                  <a:avLst/>
                </a:prstGeom>
                <a:solidFill>
                  <a:srgbClr val="FDB91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pic>
              <p:nvPicPr>
                <p:cNvPr id="128" name="Graphic 494" descr="Euro with solid fill">
                  <a:extLst>
                    <a:ext uri="{FF2B5EF4-FFF2-40B4-BE49-F238E27FC236}">
                      <a16:creationId xmlns:a16="http://schemas.microsoft.com/office/drawing/2014/main" id="{54F014AE-8FCD-A847-2406-1CB09F2A7A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64455" y="5743910"/>
                  <a:ext cx="320325" cy="320325"/>
                </a:xfrm>
                <a:prstGeom prst="rect">
                  <a:avLst/>
                </a:prstGeom>
              </p:spPr>
            </p:pic>
          </p:grpSp>
        </p:grpSp>
      </p:grpSp>
      <p:grpSp>
        <p:nvGrpSpPr>
          <p:cNvPr id="329" name="Group 328"/>
          <p:cNvGrpSpPr/>
          <p:nvPr/>
        </p:nvGrpSpPr>
        <p:grpSpPr>
          <a:xfrm>
            <a:off x="10188159" y="4326488"/>
            <a:ext cx="1711055" cy="1925904"/>
            <a:chOff x="9982868" y="4540282"/>
            <a:chExt cx="1711055" cy="1925904"/>
          </a:xfrm>
        </p:grpSpPr>
        <p:sp>
          <p:nvSpPr>
            <p:cNvPr id="25" name="Rectangle: Rounded Corners 26">
              <a:extLst>
                <a:ext uri="{FF2B5EF4-FFF2-40B4-BE49-F238E27FC236}">
                  <a16:creationId xmlns:a16="http://schemas.microsoft.com/office/drawing/2014/main" id="{981F66E0-BDA1-7261-5D20-514307A17EBF}"/>
                </a:ext>
              </a:extLst>
            </p:cNvPr>
            <p:cNvSpPr/>
            <p:nvPr/>
          </p:nvSpPr>
          <p:spPr>
            <a:xfrm>
              <a:off x="10075373" y="4540282"/>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36" name="TextBox 35">
              <a:extLst>
                <a:ext uri="{FF2B5EF4-FFF2-40B4-BE49-F238E27FC236}">
                  <a16:creationId xmlns:a16="http://schemas.microsoft.com/office/drawing/2014/main" id="{81B39BDE-48BA-43E9-B77E-21264DC12FF0}"/>
                </a:ext>
              </a:extLst>
            </p:cNvPr>
            <p:cNvSpPr txBox="1"/>
            <p:nvPr/>
          </p:nvSpPr>
          <p:spPr>
            <a:xfrm>
              <a:off x="10042492" y="5703365"/>
              <a:ext cx="1651431" cy="600164"/>
            </a:xfrm>
            <a:prstGeom prst="rect">
              <a:avLst/>
            </a:prstGeom>
            <a:noFill/>
          </p:spPr>
          <p:txBody>
            <a:bodyPr wrap="square">
              <a:spAutoFit/>
            </a:bodyPr>
            <a:lstStyle/>
            <a:p>
              <a:pPr marR="0" lvl="0" algn="ctr">
                <a:spcBef>
                  <a:spcPts val="0"/>
                </a:spcBef>
                <a:spcAft>
                  <a:spcPts val="0"/>
                </a:spcAft>
              </a:pPr>
              <a:r>
                <a:rPr lang="en-US" sz="1100">
                  <a:effectLst/>
                  <a:ea typeface="Times New Roman" panose="02020603050405020304" pitchFamily="18" charset="0"/>
                </a:rPr>
                <a:t>Penalties executed </a:t>
              </a:r>
            </a:p>
            <a:p>
              <a:pPr marR="0" lvl="0" algn="ctr">
                <a:spcBef>
                  <a:spcPts val="0"/>
                </a:spcBef>
                <a:spcAft>
                  <a:spcPts val="0"/>
                </a:spcAft>
              </a:pPr>
              <a:r>
                <a:rPr lang="en-US" sz="1100">
                  <a:effectLst/>
                  <a:ea typeface="Times New Roman" panose="02020603050405020304" pitchFamily="18" charset="0"/>
                </a:rPr>
                <a:t>in case of delayed realization</a:t>
              </a:r>
            </a:p>
          </p:txBody>
        </p:sp>
        <p:sp>
          <p:nvSpPr>
            <p:cNvPr id="43" name="Titel 1">
              <a:extLst>
                <a:ext uri="{FF2B5EF4-FFF2-40B4-BE49-F238E27FC236}">
                  <a16:creationId xmlns:a16="http://schemas.microsoft.com/office/drawing/2014/main" id="{19AB8EF3-DD0E-1775-B544-743118886448}"/>
                </a:ext>
              </a:extLst>
            </p:cNvPr>
            <p:cNvSpPr txBox="1">
              <a:spLocks/>
            </p:cNvSpPr>
            <p:nvPr/>
          </p:nvSpPr>
          <p:spPr>
            <a:xfrm>
              <a:off x="9982868" y="4577963"/>
              <a:ext cx="529575"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11</a:t>
              </a:r>
            </a:p>
          </p:txBody>
        </p:sp>
        <p:grpSp>
          <p:nvGrpSpPr>
            <p:cNvPr id="135" name="Group 134">
              <a:extLst>
                <a:ext uri="{FF2B5EF4-FFF2-40B4-BE49-F238E27FC236}">
                  <a16:creationId xmlns:a16="http://schemas.microsoft.com/office/drawing/2014/main" id="{20B01C1E-0E28-935F-D0D0-70186235DE33}"/>
                </a:ext>
              </a:extLst>
            </p:cNvPr>
            <p:cNvGrpSpPr/>
            <p:nvPr/>
          </p:nvGrpSpPr>
          <p:grpSpPr>
            <a:xfrm>
              <a:off x="10497646" y="4780911"/>
              <a:ext cx="1051134" cy="808948"/>
              <a:chOff x="664083" y="7161092"/>
              <a:chExt cx="1624019" cy="1249836"/>
            </a:xfrm>
          </p:grpSpPr>
          <p:sp>
            <p:nvSpPr>
              <p:cNvPr id="136" name="Rectangle: Rounded Corners 524">
                <a:extLst>
                  <a:ext uri="{FF2B5EF4-FFF2-40B4-BE49-F238E27FC236}">
                    <a16:creationId xmlns:a16="http://schemas.microsoft.com/office/drawing/2014/main" id="{50A87DD8-7346-DEE8-EC21-F981CB568CF4}"/>
                  </a:ext>
                </a:extLst>
              </p:cNvPr>
              <p:cNvSpPr/>
              <p:nvPr/>
            </p:nvSpPr>
            <p:spPr>
              <a:xfrm>
                <a:off x="664083" y="7268958"/>
                <a:ext cx="1274944" cy="1141970"/>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nvGrpSpPr>
              <p:cNvPr id="137" name="Group 136">
                <a:extLst>
                  <a:ext uri="{FF2B5EF4-FFF2-40B4-BE49-F238E27FC236}">
                    <a16:creationId xmlns:a16="http://schemas.microsoft.com/office/drawing/2014/main" id="{EA05C0F5-3C46-E497-9B83-71C7A8D82514}"/>
                  </a:ext>
                </a:extLst>
              </p:cNvPr>
              <p:cNvGrpSpPr/>
              <p:nvPr/>
            </p:nvGrpSpPr>
            <p:grpSpPr>
              <a:xfrm>
                <a:off x="771522" y="7441112"/>
                <a:ext cx="1064060" cy="119136"/>
                <a:chOff x="771522" y="7441112"/>
                <a:chExt cx="1064060" cy="119136"/>
              </a:xfrm>
            </p:grpSpPr>
            <p:sp>
              <p:nvSpPr>
                <p:cNvPr id="175" name="Rectangle: Rounded Corners 563">
                  <a:extLst>
                    <a:ext uri="{FF2B5EF4-FFF2-40B4-BE49-F238E27FC236}">
                      <a16:creationId xmlns:a16="http://schemas.microsoft.com/office/drawing/2014/main" id="{91577FBC-2764-6771-7FC9-0485ADF58B93}"/>
                    </a:ext>
                  </a:extLst>
                </p:cNvPr>
                <p:cNvSpPr/>
                <p:nvPr/>
              </p:nvSpPr>
              <p:spPr>
                <a:xfrm>
                  <a:off x="771522" y="7442987"/>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6" name="Rectangle: Rounded Corners 564">
                  <a:extLst>
                    <a:ext uri="{FF2B5EF4-FFF2-40B4-BE49-F238E27FC236}">
                      <a16:creationId xmlns:a16="http://schemas.microsoft.com/office/drawing/2014/main" id="{07BD1008-D437-CFF0-AD2C-6BFB55A17B97}"/>
                    </a:ext>
                  </a:extLst>
                </p:cNvPr>
                <p:cNvSpPr/>
                <p:nvPr/>
              </p:nvSpPr>
              <p:spPr>
                <a:xfrm>
                  <a:off x="930452" y="7442987"/>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7" name="Rectangle: Rounded Corners 565">
                  <a:extLst>
                    <a:ext uri="{FF2B5EF4-FFF2-40B4-BE49-F238E27FC236}">
                      <a16:creationId xmlns:a16="http://schemas.microsoft.com/office/drawing/2014/main" id="{ADCDB5A5-BC34-68F6-55D0-62465916B554}"/>
                    </a:ext>
                  </a:extLst>
                </p:cNvPr>
                <p:cNvSpPr/>
                <p:nvPr/>
              </p:nvSpPr>
              <p:spPr>
                <a:xfrm>
                  <a:off x="1089382" y="7442987"/>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8" name="Rectangle: Rounded Corners 566">
                  <a:extLst>
                    <a:ext uri="{FF2B5EF4-FFF2-40B4-BE49-F238E27FC236}">
                      <a16:creationId xmlns:a16="http://schemas.microsoft.com/office/drawing/2014/main" id="{FED04592-F34C-EAFD-8572-6DACDF0F3DF1}"/>
                    </a:ext>
                  </a:extLst>
                </p:cNvPr>
                <p:cNvSpPr/>
                <p:nvPr/>
              </p:nvSpPr>
              <p:spPr>
                <a:xfrm>
                  <a:off x="1248312" y="7442987"/>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9" name="Rectangle: Rounded Corners 567">
                  <a:extLst>
                    <a:ext uri="{FF2B5EF4-FFF2-40B4-BE49-F238E27FC236}">
                      <a16:creationId xmlns:a16="http://schemas.microsoft.com/office/drawing/2014/main" id="{AE52FCCF-5252-0F84-A548-5E8A89A09B72}"/>
                    </a:ext>
                  </a:extLst>
                </p:cNvPr>
                <p:cNvSpPr/>
                <p:nvPr/>
              </p:nvSpPr>
              <p:spPr>
                <a:xfrm>
                  <a:off x="1407242" y="7442987"/>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80" name="Rectangle: Rounded Corners 568">
                  <a:extLst>
                    <a:ext uri="{FF2B5EF4-FFF2-40B4-BE49-F238E27FC236}">
                      <a16:creationId xmlns:a16="http://schemas.microsoft.com/office/drawing/2014/main" id="{ECE30BDF-489A-A1F7-8DD3-743F34A4F18A}"/>
                    </a:ext>
                  </a:extLst>
                </p:cNvPr>
                <p:cNvSpPr/>
                <p:nvPr/>
              </p:nvSpPr>
              <p:spPr>
                <a:xfrm>
                  <a:off x="1566174" y="7442987"/>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81" name="Rectangle: Rounded Corners 569">
                  <a:extLst>
                    <a:ext uri="{FF2B5EF4-FFF2-40B4-BE49-F238E27FC236}">
                      <a16:creationId xmlns:a16="http://schemas.microsoft.com/office/drawing/2014/main" id="{D60CAA55-3F25-C258-CF07-87F0252E2424}"/>
                    </a:ext>
                  </a:extLst>
                </p:cNvPr>
                <p:cNvSpPr/>
                <p:nvPr/>
              </p:nvSpPr>
              <p:spPr>
                <a:xfrm>
                  <a:off x="1718321" y="7441112"/>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grpSp>
            <p:nvGrpSpPr>
              <p:cNvPr id="138" name="Group 137">
                <a:extLst>
                  <a:ext uri="{FF2B5EF4-FFF2-40B4-BE49-F238E27FC236}">
                    <a16:creationId xmlns:a16="http://schemas.microsoft.com/office/drawing/2014/main" id="{05BB7411-F82C-71EA-A6BA-15997243C306}"/>
                  </a:ext>
                </a:extLst>
              </p:cNvPr>
              <p:cNvGrpSpPr/>
              <p:nvPr/>
            </p:nvGrpSpPr>
            <p:grpSpPr>
              <a:xfrm>
                <a:off x="771522" y="7629848"/>
                <a:ext cx="1064060" cy="119136"/>
                <a:chOff x="777874" y="7607430"/>
                <a:chExt cx="1064060" cy="119136"/>
              </a:xfrm>
            </p:grpSpPr>
            <p:sp>
              <p:nvSpPr>
                <p:cNvPr id="168" name="Rectangle: Rounded Corners 556">
                  <a:extLst>
                    <a:ext uri="{FF2B5EF4-FFF2-40B4-BE49-F238E27FC236}">
                      <a16:creationId xmlns:a16="http://schemas.microsoft.com/office/drawing/2014/main" id="{DFABC369-6057-13E6-059D-45691FCC9A7B}"/>
                    </a:ext>
                  </a:extLst>
                </p:cNvPr>
                <p:cNvSpPr/>
                <p:nvPr/>
              </p:nvSpPr>
              <p:spPr>
                <a:xfrm>
                  <a:off x="77787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69" name="Rectangle: Rounded Corners 557">
                  <a:extLst>
                    <a:ext uri="{FF2B5EF4-FFF2-40B4-BE49-F238E27FC236}">
                      <a16:creationId xmlns:a16="http://schemas.microsoft.com/office/drawing/2014/main" id="{17F07DEC-699F-FF9B-0B83-42263F9D8B7A}"/>
                    </a:ext>
                  </a:extLst>
                </p:cNvPr>
                <p:cNvSpPr/>
                <p:nvPr/>
              </p:nvSpPr>
              <p:spPr>
                <a:xfrm>
                  <a:off x="93680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0" name="Rectangle: Rounded Corners 558">
                  <a:extLst>
                    <a:ext uri="{FF2B5EF4-FFF2-40B4-BE49-F238E27FC236}">
                      <a16:creationId xmlns:a16="http://schemas.microsoft.com/office/drawing/2014/main" id="{46F13387-A5F4-1F31-29FF-278722212ABF}"/>
                    </a:ext>
                  </a:extLst>
                </p:cNvPr>
                <p:cNvSpPr/>
                <p:nvPr/>
              </p:nvSpPr>
              <p:spPr>
                <a:xfrm>
                  <a:off x="109573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1" name="Rectangle: Rounded Corners 559">
                  <a:extLst>
                    <a:ext uri="{FF2B5EF4-FFF2-40B4-BE49-F238E27FC236}">
                      <a16:creationId xmlns:a16="http://schemas.microsoft.com/office/drawing/2014/main" id="{580255AD-8006-6669-DDD4-7131DD60C522}"/>
                    </a:ext>
                  </a:extLst>
                </p:cNvPr>
                <p:cNvSpPr/>
                <p:nvPr/>
              </p:nvSpPr>
              <p:spPr>
                <a:xfrm>
                  <a:off x="125466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2" name="Rectangle: Rounded Corners 560">
                  <a:extLst>
                    <a:ext uri="{FF2B5EF4-FFF2-40B4-BE49-F238E27FC236}">
                      <a16:creationId xmlns:a16="http://schemas.microsoft.com/office/drawing/2014/main" id="{61EF837B-44B1-A1FA-245C-762729C546D6}"/>
                    </a:ext>
                  </a:extLst>
                </p:cNvPr>
                <p:cNvSpPr/>
                <p:nvPr/>
              </p:nvSpPr>
              <p:spPr>
                <a:xfrm>
                  <a:off x="141359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3" name="Rectangle: Rounded Corners 561">
                  <a:extLst>
                    <a:ext uri="{FF2B5EF4-FFF2-40B4-BE49-F238E27FC236}">
                      <a16:creationId xmlns:a16="http://schemas.microsoft.com/office/drawing/2014/main" id="{0A453BF0-63C6-EE06-759F-B88F927547D9}"/>
                    </a:ext>
                  </a:extLst>
                </p:cNvPr>
                <p:cNvSpPr/>
                <p:nvPr/>
              </p:nvSpPr>
              <p:spPr>
                <a:xfrm>
                  <a:off x="1572526"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74" name="Rectangle: Rounded Corners 562">
                  <a:extLst>
                    <a:ext uri="{FF2B5EF4-FFF2-40B4-BE49-F238E27FC236}">
                      <a16:creationId xmlns:a16="http://schemas.microsoft.com/office/drawing/2014/main" id="{1EB73FA2-9329-04EF-3A2E-F0376F7DE316}"/>
                    </a:ext>
                  </a:extLst>
                </p:cNvPr>
                <p:cNvSpPr/>
                <p:nvPr/>
              </p:nvSpPr>
              <p:spPr>
                <a:xfrm>
                  <a:off x="1724673" y="7607430"/>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grpSp>
            <p:nvGrpSpPr>
              <p:cNvPr id="139" name="Group 138">
                <a:extLst>
                  <a:ext uri="{FF2B5EF4-FFF2-40B4-BE49-F238E27FC236}">
                    <a16:creationId xmlns:a16="http://schemas.microsoft.com/office/drawing/2014/main" id="{46635061-F038-9A29-15D5-ADA8CF2A25C8}"/>
                  </a:ext>
                </a:extLst>
              </p:cNvPr>
              <p:cNvGrpSpPr/>
              <p:nvPr/>
            </p:nvGrpSpPr>
            <p:grpSpPr>
              <a:xfrm>
                <a:off x="771522" y="7818584"/>
                <a:ext cx="1064060" cy="119136"/>
                <a:chOff x="777874" y="7607430"/>
                <a:chExt cx="1064060" cy="119136"/>
              </a:xfrm>
            </p:grpSpPr>
            <p:sp>
              <p:nvSpPr>
                <p:cNvPr id="161" name="Rectangle: Rounded Corners 549">
                  <a:extLst>
                    <a:ext uri="{FF2B5EF4-FFF2-40B4-BE49-F238E27FC236}">
                      <a16:creationId xmlns:a16="http://schemas.microsoft.com/office/drawing/2014/main" id="{0B9F920C-AC94-EF00-2A53-49E28A42C93D}"/>
                    </a:ext>
                  </a:extLst>
                </p:cNvPr>
                <p:cNvSpPr/>
                <p:nvPr/>
              </p:nvSpPr>
              <p:spPr>
                <a:xfrm>
                  <a:off x="77787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62" name="Rectangle: Rounded Corners 550">
                  <a:extLst>
                    <a:ext uri="{FF2B5EF4-FFF2-40B4-BE49-F238E27FC236}">
                      <a16:creationId xmlns:a16="http://schemas.microsoft.com/office/drawing/2014/main" id="{C956905F-14D9-97AC-BC5F-3F7E38249D50}"/>
                    </a:ext>
                  </a:extLst>
                </p:cNvPr>
                <p:cNvSpPr/>
                <p:nvPr/>
              </p:nvSpPr>
              <p:spPr>
                <a:xfrm>
                  <a:off x="93680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63" name="Rectangle: Rounded Corners 551">
                  <a:extLst>
                    <a:ext uri="{FF2B5EF4-FFF2-40B4-BE49-F238E27FC236}">
                      <a16:creationId xmlns:a16="http://schemas.microsoft.com/office/drawing/2014/main" id="{9846139A-653A-C571-A0A8-B2D0DF421A42}"/>
                    </a:ext>
                  </a:extLst>
                </p:cNvPr>
                <p:cNvSpPr/>
                <p:nvPr/>
              </p:nvSpPr>
              <p:spPr>
                <a:xfrm>
                  <a:off x="109573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64" name="Rectangle: Rounded Corners 552">
                  <a:extLst>
                    <a:ext uri="{FF2B5EF4-FFF2-40B4-BE49-F238E27FC236}">
                      <a16:creationId xmlns:a16="http://schemas.microsoft.com/office/drawing/2014/main" id="{B46FB77E-9D03-F335-6D7C-1D464432F731}"/>
                    </a:ext>
                  </a:extLst>
                </p:cNvPr>
                <p:cNvSpPr/>
                <p:nvPr/>
              </p:nvSpPr>
              <p:spPr>
                <a:xfrm>
                  <a:off x="125466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65" name="Rectangle: Rounded Corners 553">
                  <a:extLst>
                    <a:ext uri="{FF2B5EF4-FFF2-40B4-BE49-F238E27FC236}">
                      <a16:creationId xmlns:a16="http://schemas.microsoft.com/office/drawing/2014/main" id="{42270C38-14EB-E9AA-46CF-B6AAAA1E5606}"/>
                    </a:ext>
                  </a:extLst>
                </p:cNvPr>
                <p:cNvSpPr/>
                <p:nvPr/>
              </p:nvSpPr>
              <p:spPr>
                <a:xfrm>
                  <a:off x="141359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66" name="Rectangle: Rounded Corners 554">
                  <a:extLst>
                    <a:ext uri="{FF2B5EF4-FFF2-40B4-BE49-F238E27FC236}">
                      <a16:creationId xmlns:a16="http://schemas.microsoft.com/office/drawing/2014/main" id="{507BDEDA-978C-29C4-24BE-A4AA6970AB58}"/>
                    </a:ext>
                  </a:extLst>
                </p:cNvPr>
                <p:cNvSpPr/>
                <p:nvPr/>
              </p:nvSpPr>
              <p:spPr>
                <a:xfrm>
                  <a:off x="1572526"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67" name="Rectangle: Rounded Corners 555">
                  <a:extLst>
                    <a:ext uri="{FF2B5EF4-FFF2-40B4-BE49-F238E27FC236}">
                      <a16:creationId xmlns:a16="http://schemas.microsoft.com/office/drawing/2014/main" id="{BB787B36-2CFF-F28E-4DBE-C5C27E440630}"/>
                    </a:ext>
                  </a:extLst>
                </p:cNvPr>
                <p:cNvSpPr/>
                <p:nvPr/>
              </p:nvSpPr>
              <p:spPr>
                <a:xfrm>
                  <a:off x="1724673" y="7607430"/>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grpSp>
            <p:nvGrpSpPr>
              <p:cNvPr id="140" name="Group 139">
                <a:extLst>
                  <a:ext uri="{FF2B5EF4-FFF2-40B4-BE49-F238E27FC236}">
                    <a16:creationId xmlns:a16="http://schemas.microsoft.com/office/drawing/2014/main" id="{47551995-E399-E2E7-3293-0E9CA2F7538D}"/>
                  </a:ext>
                </a:extLst>
              </p:cNvPr>
              <p:cNvGrpSpPr/>
              <p:nvPr/>
            </p:nvGrpSpPr>
            <p:grpSpPr>
              <a:xfrm>
                <a:off x="771522" y="8007320"/>
                <a:ext cx="1064060" cy="119136"/>
                <a:chOff x="777874" y="7607430"/>
                <a:chExt cx="1064060" cy="119136"/>
              </a:xfrm>
            </p:grpSpPr>
            <p:sp>
              <p:nvSpPr>
                <p:cNvPr id="154" name="Rectangle: Rounded Corners 542">
                  <a:extLst>
                    <a:ext uri="{FF2B5EF4-FFF2-40B4-BE49-F238E27FC236}">
                      <a16:creationId xmlns:a16="http://schemas.microsoft.com/office/drawing/2014/main" id="{070A2ECC-272C-BAD3-379F-7DF642891B18}"/>
                    </a:ext>
                  </a:extLst>
                </p:cNvPr>
                <p:cNvSpPr/>
                <p:nvPr/>
              </p:nvSpPr>
              <p:spPr>
                <a:xfrm>
                  <a:off x="77787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55" name="Rectangle: Rounded Corners 543">
                  <a:extLst>
                    <a:ext uri="{FF2B5EF4-FFF2-40B4-BE49-F238E27FC236}">
                      <a16:creationId xmlns:a16="http://schemas.microsoft.com/office/drawing/2014/main" id="{C5305493-14BB-E569-95D0-54B240B71468}"/>
                    </a:ext>
                  </a:extLst>
                </p:cNvPr>
                <p:cNvSpPr/>
                <p:nvPr/>
              </p:nvSpPr>
              <p:spPr>
                <a:xfrm>
                  <a:off x="93680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56" name="Rectangle: Rounded Corners 544">
                  <a:extLst>
                    <a:ext uri="{FF2B5EF4-FFF2-40B4-BE49-F238E27FC236}">
                      <a16:creationId xmlns:a16="http://schemas.microsoft.com/office/drawing/2014/main" id="{FCF74E13-BB93-A957-FFAD-07CCE40B52A7}"/>
                    </a:ext>
                  </a:extLst>
                </p:cNvPr>
                <p:cNvSpPr/>
                <p:nvPr/>
              </p:nvSpPr>
              <p:spPr>
                <a:xfrm>
                  <a:off x="109573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57" name="Rectangle: Rounded Corners 545">
                  <a:extLst>
                    <a:ext uri="{FF2B5EF4-FFF2-40B4-BE49-F238E27FC236}">
                      <a16:creationId xmlns:a16="http://schemas.microsoft.com/office/drawing/2014/main" id="{8AB881B3-2483-046F-2DBA-9CA679254ECB}"/>
                    </a:ext>
                  </a:extLst>
                </p:cNvPr>
                <p:cNvSpPr/>
                <p:nvPr/>
              </p:nvSpPr>
              <p:spPr>
                <a:xfrm>
                  <a:off x="125466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58" name="Rectangle: Rounded Corners 546">
                  <a:extLst>
                    <a:ext uri="{FF2B5EF4-FFF2-40B4-BE49-F238E27FC236}">
                      <a16:creationId xmlns:a16="http://schemas.microsoft.com/office/drawing/2014/main" id="{C0259DCE-8461-7C85-5D64-AFC2548C5D5C}"/>
                    </a:ext>
                  </a:extLst>
                </p:cNvPr>
                <p:cNvSpPr/>
                <p:nvPr/>
              </p:nvSpPr>
              <p:spPr>
                <a:xfrm>
                  <a:off x="141359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59" name="Rectangle: Rounded Corners 547">
                  <a:extLst>
                    <a:ext uri="{FF2B5EF4-FFF2-40B4-BE49-F238E27FC236}">
                      <a16:creationId xmlns:a16="http://schemas.microsoft.com/office/drawing/2014/main" id="{D392B317-5D92-226C-5611-44F692BB1CE6}"/>
                    </a:ext>
                  </a:extLst>
                </p:cNvPr>
                <p:cNvSpPr/>
                <p:nvPr/>
              </p:nvSpPr>
              <p:spPr>
                <a:xfrm>
                  <a:off x="1572526"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60" name="Rectangle: Rounded Corners 548">
                  <a:extLst>
                    <a:ext uri="{FF2B5EF4-FFF2-40B4-BE49-F238E27FC236}">
                      <a16:creationId xmlns:a16="http://schemas.microsoft.com/office/drawing/2014/main" id="{64FB32FC-941B-768A-82F4-B62B2C10DB7B}"/>
                    </a:ext>
                  </a:extLst>
                </p:cNvPr>
                <p:cNvSpPr/>
                <p:nvPr/>
              </p:nvSpPr>
              <p:spPr>
                <a:xfrm>
                  <a:off x="1724673" y="7607430"/>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grpSp>
            <p:nvGrpSpPr>
              <p:cNvPr id="141" name="Group 140">
                <a:extLst>
                  <a:ext uri="{FF2B5EF4-FFF2-40B4-BE49-F238E27FC236}">
                    <a16:creationId xmlns:a16="http://schemas.microsoft.com/office/drawing/2014/main" id="{0132B0E3-24E2-4B23-97A2-0A4C4F676800}"/>
                  </a:ext>
                </a:extLst>
              </p:cNvPr>
              <p:cNvGrpSpPr/>
              <p:nvPr/>
            </p:nvGrpSpPr>
            <p:grpSpPr>
              <a:xfrm>
                <a:off x="771522" y="8196057"/>
                <a:ext cx="276191" cy="117261"/>
                <a:chOff x="777874" y="7609305"/>
                <a:chExt cx="276191" cy="117261"/>
              </a:xfrm>
            </p:grpSpPr>
            <p:sp>
              <p:nvSpPr>
                <p:cNvPr id="152" name="Rectangle: Rounded Corners 540">
                  <a:extLst>
                    <a:ext uri="{FF2B5EF4-FFF2-40B4-BE49-F238E27FC236}">
                      <a16:creationId xmlns:a16="http://schemas.microsoft.com/office/drawing/2014/main" id="{72A9B16E-B8CA-F795-55F1-831D8A48CE5A}"/>
                    </a:ext>
                  </a:extLst>
                </p:cNvPr>
                <p:cNvSpPr/>
                <p:nvPr/>
              </p:nvSpPr>
              <p:spPr>
                <a:xfrm>
                  <a:off x="77787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53" name="Rectangle: Rounded Corners 541">
                  <a:extLst>
                    <a:ext uri="{FF2B5EF4-FFF2-40B4-BE49-F238E27FC236}">
                      <a16:creationId xmlns:a16="http://schemas.microsoft.com/office/drawing/2014/main" id="{DCDFC57E-D3F7-0824-9A02-48DB363C1E37}"/>
                    </a:ext>
                  </a:extLst>
                </p:cNvPr>
                <p:cNvSpPr/>
                <p:nvPr/>
              </p:nvSpPr>
              <p:spPr>
                <a:xfrm>
                  <a:off x="936804" y="7609305"/>
                  <a:ext cx="117261" cy="117261"/>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sp>
            <p:nvSpPr>
              <p:cNvPr id="142" name="Rectangle: Rounded Corners 530">
                <a:extLst>
                  <a:ext uri="{FF2B5EF4-FFF2-40B4-BE49-F238E27FC236}">
                    <a16:creationId xmlns:a16="http://schemas.microsoft.com/office/drawing/2014/main" id="{5879606C-E291-3BED-205D-48A3C6D1CAA3}"/>
                  </a:ext>
                </a:extLst>
              </p:cNvPr>
              <p:cNvSpPr/>
              <p:nvPr/>
            </p:nvSpPr>
            <p:spPr>
              <a:xfrm>
                <a:off x="998366" y="7161092"/>
                <a:ext cx="75677" cy="218401"/>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43" name="Rectangle: Rounded Corners 531">
                <a:extLst>
                  <a:ext uri="{FF2B5EF4-FFF2-40B4-BE49-F238E27FC236}">
                    <a16:creationId xmlns:a16="http://schemas.microsoft.com/office/drawing/2014/main" id="{E0E81CE7-E6B0-CC40-C74E-E7EA95D28853}"/>
                  </a:ext>
                </a:extLst>
              </p:cNvPr>
              <p:cNvSpPr/>
              <p:nvPr/>
            </p:nvSpPr>
            <p:spPr>
              <a:xfrm>
                <a:off x="1462224" y="7161092"/>
                <a:ext cx="75677" cy="218401"/>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nvGrpSpPr>
              <p:cNvPr id="144" name="Group 143">
                <a:extLst>
                  <a:ext uri="{FF2B5EF4-FFF2-40B4-BE49-F238E27FC236}">
                    <a16:creationId xmlns:a16="http://schemas.microsoft.com/office/drawing/2014/main" id="{6F31D7F0-FE67-B01B-F32C-5B9EDFE99E76}"/>
                  </a:ext>
                </a:extLst>
              </p:cNvPr>
              <p:cNvGrpSpPr/>
              <p:nvPr/>
            </p:nvGrpSpPr>
            <p:grpSpPr>
              <a:xfrm>
                <a:off x="1258874" y="7698530"/>
                <a:ext cx="1029228" cy="635867"/>
                <a:chOff x="1569926" y="2774394"/>
                <a:chExt cx="959519" cy="592798"/>
              </a:xfrm>
            </p:grpSpPr>
            <p:grpSp>
              <p:nvGrpSpPr>
                <p:cNvPr id="145" name="Group 144">
                  <a:extLst>
                    <a:ext uri="{FF2B5EF4-FFF2-40B4-BE49-F238E27FC236}">
                      <a16:creationId xmlns:a16="http://schemas.microsoft.com/office/drawing/2014/main" id="{9B7BECBD-BB42-2AE0-8AE4-471798020A26}"/>
                    </a:ext>
                  </a:extLst>
                </p:cNvPr>
                <p:cNvGrpSpPr/>
                <p:nvPr/>
              </p:nvGrpSpPr>
              <p:grpSpPr>
                <a:xfrm rot="18602459">
                  <a:off x="1774600" y="2612347"/>
                  <a:ext cx="550171" cy="959519"/>
                  <a:chOff x="6471186" y="2450515"/>
                  <a:chExt cx="953639" cy="1663173"/>
                </a:xfrm>
              </p:grpSpPr>
              <p:sp>
                <p:nvSpPr>
                  <p:cNvPr id="147" name="Rectangle: Rounded Corners 535">
                    <a:extLst>
                      <a:ext uri="{FF2B5EF4-FFF2-40B4-BE49-F238E27FC236}">
                        <a16:creationId xmlns:a16="http://schemas.microsoft.com/office/drawing/2014/main" id="{DC7A59C2-002C-F769-B868-98AF4D1D08ED}"/>
                      </a:ext>
                    </a:extLst>
                  </p:cNvPr>
                  <p:cNvSpPr/>
                  <p:nvPr/>
                </p:nvSpPr>
                <p:spPr>
                  <a:xfrm>
                    <a:off x="6847222" y="3004833"/>
                    <a:ext cx="194981" cy="1108855"/>
                  </a:xfrm>
                  <a:prstGeom prst="round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148" name="Rectangle: Rounded Corners 536">
                    <a:extLst>
                      <a:ext uri="{FF2B5EF4-FFF2-40B4-BE49-F238E27FC236}">
                        <a16:creationId xmlns:a16="http://schemas.microsoft.com/office/drawing/2014/main" id="{52B50DDA-5488-06B4-C32A-A68BC7DE6726}"/>
                      </a:ext>
                    </a:extLst>
                  </p:cNvPr>
                  <p:cNvSpPr/>
                  <p:nvPr/>
                </p:nvSpPr>
                <p:spPr>
                  <a:xfrm flipH="1">
                    <a:off x="6528017" y="2521713"/>
                    <a:ext cx="833391" cy="577363"/>
                  </a:xfrm>
                  <a:prstGeom prst="roundRect">
                    <a:avLst/>
                  </a:prstGeom>
                  <a:solidFill>
                    <a:schemeClr val="tx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149" name="Rectangle: Rounded Corners 537">
                    <a:extLst>
                      <a:ext uri="{FF2B5EF4-FFF2-40B4-BE49-F238E27FC236}">
                        <a16:creationId xmlns:a16="http://schemas.microsoft.com/office/drawing/2014/main" id="{0F89D336-A5CC-8E70-F33E-EF63D3F065DC}"/>
                      </a:ext>
                    </a:extLst>
                  </p:cNvPr>
                  <p:cNvSpPr/>
                  <p:nvPr/>
                </p:nvSpPr>
                <p:spPr>
                  <a:xfrm flipH="1">
                    <a:off x="6816831" y="3080663"/>
                    <a:ext cx="255762" cy="137740"/>
                  </a:xfrm>
                  <a:prstGeom prst="round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150" name="Rectangle: Rounded Corners 538">
                    <a:extLst>
                      <a:ext uri="{FF2B5EF4-FFF2-40B4-BE49-F238E27FC236}">
                        <a16:creationId xmlns:a16="http://schemas.microsoft.com/office/drawing/2014/main" id="{4CF9EAF9-2BE4-1FA9-C510-E4BD0B740D99}"/>
                      </a:ext>
                    </a:extLst>
                  </p:cNvPr>
                  <p:cNvSpPr/>
                  <p:nvPr/>
                </p:nvSpPr>
                <p:spPr>
                  <a:xfrm flipH="1">
                    <a:off x="6471186" y="2450515"/>
                    <a:ext cx="134198" cy="719938"/>
                  </a:xfrm>
                  <a:prstGeom prst="round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151" name="Rectangle: Rounded Corners 539">
                    <a:extLst>
                      <a:ext uri="{FF2B5EF4-FFF2-40B4-BE49-F238E27FC236}">
                        <a16:creationId xmlns:a16="http://schemas.microsoft.com/office/drawing/2014/main" id="{E6999CAD-C6D7-7C02-6B4F-E8ABD65785E5}"/>
                      </a:ext>
                    </a:extLst>
                  </p:cNvPr>
                  <p:cNvSpPr/>
                  <p:nvPr/>
                </p:nvSpPr>
                <p:spPr>
                  <a:xfrm flipH="1">
                    <a:off x="7290627" y="2450515"/>
                    <a:ext cx="134198" cy="719938"/>
                  </a:xfrm>
                  <a:prstGeom prst="round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pic>
              <p:nvPicPr>
                <p:cNvPr id="146" name="Graphic 534" descr="Euro with solid fill">
                  <a:extLst>
                    <a:ext uri="{FF2B5EF4-FFF2-40B4-BE49-F238E27FC236}">
                      <a16:creationId xmlns:a16="http://schemas.microsoft.com/office/drawing/2014/main" id="{279CA0A9-701E-F749-EA2F-F01F5A92D1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562867">
                  <a:off x="1688367" y="2774394"/>
                  <a:ext cx="285342" cy="285342"/>
                </a:xfrm>
                <a:prstGeom prst="rect">
                  <a:avLst/>
                </a:prstGeom>
              </p:spPr>
            </p:pic>
          </p:grpSp>
        </p:grpSp>
      </p:grpSp>
      <p:grpSp>
        <p:nvGrpSpPr>
          <p:cNvPr id="323" name="Group 322"/>
          <p:cNvGrpSpPr/>
          <p:nvPr/>
        </p:nvGrpSpPr>
        <p:grpSpPr>
          <a:xfrm>
            <a:off x="9311661" y="1721680"/>
            <a:ext cx="1653889" cy="1925904"/>
            <a:chOff x="8402741" y="2061619"/>
            <a:chExt cx="1653889" cy="1925904"/>
          </a:xfrm>
        </p:grpSpPr>
        <p:sp>
          <p:nvSpPr>
            <p:cNvPr id="19" name="Rectangle: Rounded Corners 21">
              <a:extLst>
                <a:ext uri="{FF2B5EF4-FFF2-40B4-BE49-F238E27FC236}">
                  <a16:creationId xmlns:a16="http://schemas.microsoft.com/office/drawing/2014/main" id="{4F61FECE-18BD-65ED-E7D1-E9231F3B5D98}"/>
                </a:ext>
              </a:extLst>
            </p:cNvPr>
            <p:cNvSpPr/>
            <p:nvPr/>
          </p:nvSpPr>
          <p:spPr>
            <a:xfrm>
              <a:off x="8402741" y="2061619"/>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32" name="TextBox 31">
              <a:extLst>
                <a:ext uri="{FF2B5EF4-FFF2-40B4-BE49-F238E27FC236}">
                  <a16:creationId xmlns:a16="http://schemas.microsoft.com/office/drawing/2014/main" id="{8E465BF8-9D48-FE47-B776-4643E5DBA393}"/>
                </a:ext>
              </a:extLst>
            </p:cNvPr>
            <p:cNvSpPr txBox="1"/>
            <p:nvPr/>
          </p:nvSpPr>
          <p:spPr>
            <a:xfrm>
              <a:off x="8450275" y="3286008"/>
              <a:ext cx="1606355" cy="600164"/>
            </a:xfrm>
            <a:prstGeom prst="rect">
              <a:avLst/>
            </a:prstGeom>
            <a:noFill/>
          </p:spPr>
          <p:txBody>
            <a:bodyPr wrap="square">
              <a:spAutoFit/>
            </a:bodyPr>
            <a:lstStyle/>
            <a:p>
              <a:pPr marR="0" lvl="0" algn="ctr">
                <a:spcBef>
                  <a:spcPts val="0"/>
                </a:spcBef>
                <a:spcAft>
                  <a:spcPts val="0"/>
                </a:spcAft>
              </a:pPr>
              <a:r>
                <a:rPr lang="en-US" sz="1100">
                  <a:effectLst/>
                  <a:ea typeface="Times New Roman" panose="02020603050405020304" pitchFamily="18" charset="0"/>
                </a:rPr>
                <a:t>Bids awarded by CINEA until budget cap is reached</a:t>
              </a:r>
            </a:p>
          </p:txBody>
        </p:sp>
        <p:sp>
          <p:nvSpPr>
            <p:cNvPr id="39" name="Titel 1">
              <a:extLst>
                <a:ext uri="{FF2B5EF4-FFF2-40B4-BE49-F238E27FC236}">
                  <a16:creationId xmlns:a16="http://schemas.microsoft.com/office/drawing/2014/main" id="{7B60177D-D009-4A88-C2E4-AE8BB26C6105}"/>
                </a:ext>
              </a:extLst>
            </p:cNvPr>
            <p:cNvSpPr txBox="1">
              <a:spLocks/>
            </p:cNvSpPr>
            <p:nvPr/>
          </p:nvSpPr>
          <p:spPr>
            <a:xfrm>
              <a:off x="8461829" y="2147940"/>
              <a:ext cx="438912"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5</a:t>
              </a:r>
            </a:p>
          </p:txBody>
        </p:sp>
        <p:grpSp>
          <p:nvGrpSpPr>
            <p:cNvPr id="182" name="Group 181">
              <a:extLst>
                <a:ext uri="{FF2B5EF4-FFF2-40B4-BE49-F238E27FC236}">
                  <a16:creationId xmlns:a16="http://schemas.microsoft.com/office/drawing/2014/main" id="{4AE65AD6-2B02-8863-5EDE-AF2215778C68}"/>
                </a:ext>
              </a:extLst>
            </p:cNvPr>
            <p:cNvGrpSpPr/>
            <p:nvPr/>
          </p:nvGrpSpPr>
          <p:grpSpPr>
            <a:xfrm>
              <a:off x="8774808" y="2359584"/>
              <a:ext cx="972486" cy="942007"/>
              <a:chOff x="4352521" y="5623868"/>
              <a:chExt cx="972486" cy="942007"/>
            </a:xfrm>
          </p:grpSpPr>
          <p:grpSp>
            <p:nvGrpSpPr>
              <p:cNvPr id="183" name="Group 182">
                <a:extLst>
                  <a:ext uri="{FF2B5EF4-FFF2-40B4-BE49-F238E27FC236}">
                    <a16:creationId xmlns:a16="http://schemas.microsoft.com/office/drawing/2014/main" id="{3CDEF25F-A70F-353B-E67F-80C7A988F88B}"/>
                  </a:ext>
                </a:extLst>
              </p:cNvPr>
              <p:cNvGrpSpPr/>
              <p:nvPr/>
            </p:nvGrpSpPr>
            <p:grpSpPr>
              <a:xfrm>
                <a:off x="4493837" y="5719547"/>
                <a:ext cx="702950" cy="728671"/>
                <a:chOff x="4625589" y="3667415"/>
                <a:chExt cx="1017609" cy="1054844"/>
              </a:xfrm>
            </p:grpSpPr>
            <p:sp>
              <p:nvSpPr>
                <p:cNvPr id="202" name="Rectangle: Rounded Corners 590">
                  <a:extLst>
                    <a:ext uri="{FF2B5EF4-FFF2-40B4-BE49-F238E27FC236}">
                      <a16:creationId xmlns:a16="http://schemas.microsoft.com/office/drawing/2014/main" id="{E4556D0E-94A6-F260-7DF8-C71258D1F6A9}"/>
                    </a:ext>
                  </a:extLst>
                </p:cNvPr>
                <p:cNvSpPr/>
                <p:nvPr/>
              </p:nvSpPr>
              <p:spPr>
                <a:xfrm>
                  <a:off x="4625589" y="3667415"/>
                  <a:ext cx="1017609" cy="285883"/>
                </a:xfrm>
                <a:prstGeom prst="round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500">
                    <a:solidFill>
                      <a:schemeClr val="tx1"/>
                    </a:solidFill>
                  </a:endParaRPr>
                </a:p>
              </p:txBody>
            </p:sp>
            <p:sp>
              <p:nvSpPr>
                <p:cNvPr id="203" name="Rectangle: Rounded Corners 591">
                  <a:extLst>
                    <a:ext uri="{FF2B5EF4-FFF2-40B4-BE49-F238E27FC236}">
                      <a16:creationId xmlns:a16="http://schemas.microsoft.com/office/drawing/2014/main" id="{3E4A74F8-CEBE-A650-C9D8-E93D0933364B}"/>
                    </a:ext>
                  </a:extLst>
                </p:cNvPr>
                <p:cNvSpPr/>
                <p:nvPr/>
              </p:nvSpPr>
              <p:spPr>
                <a:xfrm>
                  <a:off x="4625589" y="4051896"/>
                  <a:ext cx="1017609" cy="285883"/>
                </a:xfrm>
                <a:prstGeom prst="round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500">
                    <a:solidFill>
                      <a:schemeClr val="tx1"/>
                    </a:solidFill>
                  </a:endParaRPr>
                </a:p>
              </p:txBody>
            </p:sp>
            <p:sp>
              <p:nvSpPr>
                <p:cNvPr id="204" name="Rectangle: Rounded Corners 592">
                  <a:extLst>
                    <a:ext uri="{FF2B5EF4-FFF2-40B4-BE49-F238E27FC236}">
                      <a16:creationId xmlns:a16="http://schemas.microsoft.com/office/drawing/2014/main" id="{2098B1F5-9F1A-8C1C-B1DE-561A05D9A759}"/>
                    </a:ext>
                  </a:extLst>
                </p:cNvPr>
                <p:cNvSpPr/>
                <p:nvPr/>
              </p:nvSpPr>
              <p:spPr>
                <a:xfrm>
                  <a:off x="4625589" y="4436376"/>
                  <a:ext cx="1017609" cy="285883"/>
                </a:xfrm>
                <a:prstGeom prst="round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500">
                    <a:solidFill>
                      <a:schemeClr val="tx1"/>
                    </a:solidFill>
                  </a:endParaRPr>
                </a:p>
              </p:txBody>
            </p:sp>
            <p:grpSp>
              <p:nvGrpSpPr>
                <p:cNvPr id="205" name="Group 204">
                  <a:extLst>
                    <a:ext uri="{FF2B5EF4-FFF2-40B4-BE49-F238E27FC236}">
                      <a16:creationId xmlns:a16="http://schemas.microsoft.com/office/drawing/2014/main" id="{F89685D2-E7AD-D889-0E93-66EA818253D5}"/>
                    </a:ext>
                  </a:extLst>
                </p:cNvPr>
                <p:cNvGrpSpPr/>
                <p:nvPr/>
              </p:nvGrpSpPr>
              <p:grpSpPr>
                <a:xfrm>
                  <a:off x="4706841" y="3774448"/>
                  <a:ext cx="814148" cy="85795"/>
                  <a:chOff x="4710269" y="3765739"/>
                  <a:chExt cx="814148" cy="85795"/>
                </a:xfrm>
              </p:grpSpPr>
              <p:cxnSp>
                <p:nvCxnSpPr>
                  <p:cNvPr id="212" name="Straight Connector 211">
                    <a:extLst>
                      <a:ext uri="{FF2B5EF4-FFF2-40B4-BE49-F238E27FC236}">
                        <a16:creationId xmlns:a16="http://schemas.microsoft.com/office/drawing/2014/main" id="{3CBF3594-D1D4-8E41-AB68-A9BE8908D61A}"/>
                      </a:ext>
                    </a:extLst>
                  </p:cNvPr>
                  <p:cNvCxnSpPr>
                    <a:cxnSpLocks/>
                  </p:cNvCxnSpPr>
                  <p:nvPr/>
                </p:nvCxnSpPr>
                <p:spPr>
                  <a:xfrm>
                    <a:off x="4710269" y="3765739"/>
                    <a:ext cx="814148"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E1D2B41-ADF1-A09D-8F2D-385566AC5720}"/>
                      </a:ext>
                    </a:extLst>
                  </p:cNvPr>
                  <p:cNvCxnSpPr>
                    <a:cxnSpLocks/>
                  </p:cNvCxnSpPr>
                  <p:nvPr/>
                </p:nvCxnSpPr>
                <p:spPr>
                  <a:xfrm>
                    <a:off x="4710269" y="3851534"/>
                    <a:ext cx="56276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6" name="Group 205">
                  <a:extLst>
                    <a:ext uri="{FF2B5EF4-FFF2-40B4-BE49-F238E27FC236}">
                      <a16:creationId xmlns:a16="http://schemas.microsoft.com/office/drawing/2014/main" id="{944E886B-C86D-6FDD-8129-E85D7B27F01D}"/>
                    </a:ext>
                  </a:extLst>
                </p:cNvPr>
                <p:cNvGrpSpPr/>
                <p:nvPr/>
              </p:nvGrpSpPr>
              <p:grpSpPr>
                <a:xfrm>
                  <a:off x="4706841" y="4167467"/>
                  <a:ext cx="814148" cy="85795"/>
                  <a:chOff x="4732716" y="4158758"/>
                  <a:chExt cx="814148" cy="85795"/>
                </a:xfrm>
              </p:grpSpPr>
              <p:cxnSp>
                <p:nvCxnSpPr>
                  <p:cNvPr id="210" name="Straight Connector 209">
                    <a:extLst>
                      <a:ext uri="{FF2B5EF4-FFF2-40B4-BE49-F238E27FC236}">
                        <a16:creationId xmlns:a16="http://schemas.microsoft.com/office/drawing/2014/main" id="{255114DF-3050-A022-9839-7AE3EFEB9B95}"/>
                      </a:ext>
                    </a:extLst>
                  </p:cNvPr>
                  <p:cNvCxnSpPr>
                    <a:cxnSpLocks/>
                  </p:cNvCxnSpPr>
                  <p:nvPr/>
                </p:nvCxnSpPr>
                <p:spPr>
                  <a:xfrm>
                    <a:off x="4732716" y="4158758"/>
                    <a:ext cx="814148"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A281ABE7-0251-0A21-28A3-F62D3B790A23}"/>
                      </a:ext>
                    </a:extLst>
                  </p:cNvPr>
                  <p:cNvCxnSpPr>
                    <a:cxnSpLocks/>
                  </p:cNvCxnSpPr>
                  <p:nvPr/>
                </p:nvCxnSpPr>
                <p:spPr>
                  <a:xfrm>
                    <a:off x="4732716" y="4244553"/>
                    <a:ext cx="56276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7" name="Group 206">
                  <a:extLst>
                    <a:ext uri="{FF2B5EF4-FFF2-40B4-BE49-F238E27FC236}">
                      <a16:creationId xmlns:a16="http://schemas.microsoft.com/office/drawing/2014/main" id="{C5181151-75AB-B851-C757-CDC242B7C834}"/>
                    </a:ext>
                  </a:extLst>
                </p:cNvPr>
                <p:cNvGrpSpPr/>
                <p:nvPr/>
              </p:nvGrpSpPr>
              <p:grpSpPr>
                <a:xfrm>
                  <a:off x="4706841" y="4532436"/>
                  <a:ext cx="814148" cy="85795"/>
                  <a:chOff x="4689423" y="4523727"/>
                  <a:chExt cx="814148" cy="85795"/>
                </a:xfrm>
              </p:grpSpPr>
              <p:cxnSp>
                <p:nvCxnSpPr>
                  <p:cNvPr id="208" name="Straight Connector 207">
                    <a:extLst>
                      <a:ext uri="{FF2B5EF4-FFF2-40B4-BE49-F238E27FC236}">
                        <a16:creationId xmlns:a16="http://schemas.microsoft.com/office/drawing/2014/main" id="{00DA019C-7A2E-46CC-F6E8-CE4E0357A27F}"/>
                      </a:ext>
                    </a:extLst>
                  </p:cNvPr>
                  <p:cNvCxnSpPr>
                    <a:cxnSpLocks/>
                  </p:cNvCxnSpPr>
                  <p:nvPr/>
                </p:nvCxnSpPr>
                <p:spPr>
                  <a:xfrm>
                    <a:off x="4689423" y="4523727"/>
                    <a:ext cx="814148"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0D0CA833-E219-2297-3321-9D2C8DD2B17F}"/>
                      </a:ext>
                    </a:extLst>
                  </p:cNvPr>
                  <p:cNvCxnSpPr>
                    <a:cxnSpLocks/>
                  </p:cNvCxnSpPr>
                  <p:nvPr/>
                </p:nvCxnSpPr>
                <p:spPr>
                  <a:xfrm>
                    <a:off x="4689423" y="4609522"/>
                    <a:ext cx="56276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184" name="Group 183">
                <a:extLst>
                  <a:ext uri="{FF2B5EF4-FFF2-40B4-BE49-F238E27FC236}">
                    <a16:creationId xmlns:a16="http://schemas.microsoft.com/office/drawing/2014/main" id="{829A7AB5-45F7-3B6B-CA42-5378929FFD89}"/>
                  </a:ext>
                </a:extLst>
              </p:cNvPr>
              <p:cNvGrpSpPr/>
              <p:nvPr/>
            </p:nvGrpSpPr>
            <p:grpSpPr>
              <a:xfrm>
                <a:off x="4352521" y="5623868"/>
                <a:ext cx="256420" cy="342804"/>
                <a:chOff x="3652316" y="6759901"/>
                <a:chExt cx="256420" cy="342804"/>
              </a:xfrm>
            </p:grpSpPr>
            <p:grpSp>
              <p:nvGrpSpPr>
                <p:cNvPr id="197" name="Group 196">
                  <a:extLst>
                    <a:ext uri="{FF2B5EF4-FFF2-40B4-BE49-F238E27FC236}">
                      <a16:creationId xmlns:a16="http://schemas.microsoft.com/office/drawing/2014/main" id="{1C3D6105-49CF-7057-7165-9BBCE1FB2642}"/>
                    </a:ext>
                  </a:extLst>
                </p:cNvPr>
                <p:cNvGrpSpPr/>
                <p:nvPr/>
              </p:nvGrpSpPr>
              <p:grpSpPr>
                <a:xfrm>
                  <a:off x="3652316" y="6934926"/>
                  <a:ext cx="256420" cy="167779"/>
                  <a:chOff x="3593327" y="6922881"/>
                  <a:chExt cx="377024" cy="246693"/>
                </a:xfrm>
                <a:solidFill>
                  <a:srgbClr val="FDB913"/>
                </a:solidFill>
              </p:grpSpPr>
              <p:sp>
                <p:nvSpPr>
                  <p:cNvPr id="200" name="Freeform: Shape 588">
                    <a:extLst>
                      <a:ext uri="{FF2B5EF4-FFF2-40B4-BE49-F238E27FC236}">
                        <a16:creationId xmlns:a16="http://schemas.microsoft.com/office/drawing/2014/main" id="{25457D5E-ACDB-3EB3-055D-8CB8B378D300}"/>
                      </a:ext>
                    </a:extLst>
                  </p:cNvPr>
                  <p:cNvSpPr/>
                  <p:nvPr/>
                </p:nvSpPr>
                <p:spPr>
                  <a:xfrm>
                    <a:off x="3593327" y="6922881"/>
                    <a:ext cx="215540" cy="239661"/>
                  </a:xfrm>
                  <a:custGeom>
                    <a:avLst/>
                    <a:gdLst>
                      <a:gd name="connsiteX0" fmla="*/ 205740 w 263842"/>
                      <a:gd name="connsiteY0" fmla="*/ 48578 h 293369"/>
                      <a:gd name="connsiteX1" fmla="*/ 167640 w 263842"/>
                      <a:gd name="connsiteY1" fmla="*/ 40957 h 293369"/>
                      <a:gd name="connsiteX2" fmla="*/ 118110 w 263842"/>
                      <a:gd name="connsiteY2" fmla="*/ 952 h 293369"/>
                      <a:gd name="connsiteX3" fmla="*/ 114300 w 263842"/>
                      <a:gd name="connsiteY3" fmla="*/ 0 h 293369"/>
                      <a:gd name="connsiteX4" fmla="*/ 0 w 263842"/>
                      <a:gd name="connsiteY4" fmla="*/ 224790 h 293369"/>
                      <a:gd name="connsiteX5" fmla="*/ 96203 w 263842"/>
                      <a:gd name="connsiteY5" fmla="*/ 202883 h 293369"/>
                      <a:gd name="connsiteX6" fmla="*/ 144780 w 263842"/>
                      <a:gd name="connsiteY6" fmla="*/ 293370 h 293369"/>
                      <a:gd name="connsiteX7" fmla="*/ 263843 w 263842"/>
                      <a:gd name="connsiteY7" fmla="*/ 60960 h 293369"/>
                      <a:gd name="connsiteX8" fmla="*/ 225742 w 263842"/>
                      <a:gd name="connsiteY8" fmla="*/ 46672 h 293369"/>
                      <a:gd name="connsiteX9" fmla="*/ 205740 w 263842"/>
                      <a:gd name="connsiteY9" fmla="*/ 48578 h 29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842" h="293369">
                        <a:moveTo>
                          <a:pt x="205740" y="48578"/>
                        </a:moveTo>
                        <a:cubicBezTo>
                          <a:pt x="192405" y="48578"/>
                          <a:pt x="180023" y="45720"/>
                          <a:pt x="167640" y="40957"/>
                        </a:cubicBezTo>
                        <a:cubicBezTo>
                          <a:pt x="147637" y="33338"/>
                          <a:pt x="130492" y="19050"/>
                          <a:pt x="118110" y="952"/>
                        </a:cubicBezTo>
                        <a:cubicBezTo>
                          <a:pt x="117157" y="952"/>
                          <a:pt x="115253" y="0"/>
                          <a:pt x="114300" y="0"/>
                        </a:cubicBezTo>
                        <a:lnTo>
                          <a:pt x="0" y="224790"/>
                        </a:lnTo>
                        <a:lnTo>
                          <a:pt x="96203" y="202883"/>
                        </a:lnTo>
                        <a:lnTo>
                          <a:pt x="144780" y="293370"/>
                        </a:lnTo>
                        <a:lnTo>
                          <a:pt x="263843" y="60960"/>
                        </a:lnTo>
                        <a:cubicBezTo>
                          <a:pt x="250508" y="59055"/>
                          <a:pt x="237173" y="53340"/>
                          <a:pt x="225742" y="46672"/>
                        </a:cubicBezTo>
                        <a:cubicBezTo>
                          <a:pt x="219075" y="47625"/>
                          <a:pt x="212408" y="48578"/>
                          <a:pt x="205740" y="48578"/>
                        </a:cubicBezTo>
                        <a:close/>
                      </a:path>
                    </a:pathLst>
                  </a:custGeom>
                  <a:grpFill/>
                  <a:ln w="9525" cap="flat">
                    <a:noFill/>
                    <a:prstDash val="solid"/>
                    <a:miter/>
                  </a:ln>
                </p:spPr>
                <p:txBody>
                  <a:bodyPr rtlCol="0" anchor="ctr"/>
                  <a:lstStyle/>
                  <a:p>
                    <a:endParaRPr lang="en-US"/>
                  </a:p>
                </p:txBody>
              </p:sp>
              <p:sp>
                <p:nvSpPr>
                  <p:cNvPr id="201" name="Freeform: Shape 589">
                    <a:extLst>
                      <a:ext uri="{FF2B5EF4-FFF2-40B4-BE49-F238E27FC236}">
                        <a16:creationId xmlns:a16="http://schemas.microsoft.com/office/drawing/2014/main" id="{B41BB6B5-E0E2-50CC-D5BD-FC0D9DFB2C29}"/>
                      </a:ext>
                    </a:extLst>
                  </p:cNvPr>
                  <p:cNvSpPr/>
                  <p:nvPr/>
                </p:nvSpPr>
                <p:spPr>
                  <a:xfrm>
                    <a:off x="3747809" y="6939250"/>
                    <a:ext cx="222542" cy="230324"/>
                  </a:xfrm>
                  <a:custGeom>
                    <a:avLst/>
                    <a:gdLst>
                      <a:gd name="connsiteX0" fmla="*/ 111442 w 272414"/>
                      <a:gd name="connsiteY0" fmla="*/ 30480 h 281940"/>
                      <a:gd name="connsiteX1" fmla="*/ 69532 w 272414"/>
                      <a:gd name="connsiteY1" fmla="*/ 39053 h 281940"/>
                      <a:gd name="connsiteX2" fmla="*/ 47625 w 272414"/>
                      <a:gd name="connsiteY2" fmla="*/ 37147 h 281940"/>
                      <a:gd name="connsiteX3" fmla="*/ 0 w 272414"/>
                      <a:gd name="connsiteY3" fmla="*/ 55245 h 281940"/>
                      <a:gd name="connsiteX4" fmla="*/ 125730 w 272414"/>
                      <a:gd name="connsiteY4" fmla="*/ 281940 h 281940"/>
                      <a:gd name="connsiteX5" fmla="*/ 175260 w 272414"/>
                      <a:gd name="connsiteY5" fmla="*/ 200978 h 281940"/>
                      <a:gd name="connsiteX6" fmla="*/ 272415 w 272414"/>
                      <a:gd name="connsiteY6" fmla="*/ 217170 h 281940"/>
                      <a:gd name="connsiteX7" fmla="*/ 151448 w 272414"/>
                      <a:gd name="connsiteY7" fmla="*/ 0 h 281940"/>
                      <a:gd name="connsiteX8" fmla="*/ 111442 w 272414"/>
                      <a:gd name="connsiteY8" fmla="*/ 30480 h 28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414" h="281940">
                        <a:moveTo>
                          <a:pt x="111442" y="30480"/>
                        </a:moveTo>
                        <a:cubicBezTo>
                          <a:pt x="98107" y="36195"/>
                          <a:pt x="83820" y="39053"/>
                          <a:pt x="69532" y="39053"/>
                        </a:cubicBezTo>
                        <a:cubicBezTo>
                          <a:pt x="61913" y="39053"/>
                          <a:pt x="55245" y="38100"/>
                          <a:pt x="47625" y="37147"/>
                        </a:cubicBezTo>
                        <a:cubicBezTo>
                          <a:pt x="33338" y="46672"/>
                          <a:pt x="17145" y="53340"/>
                          <a:pt x="0" y="55245"/>
                        </a:cubicBezTo>
                        <a:lnTo>
                          <a:pt x="125730" y="281940"/>
                        </a:lnTo>
                        <a:lnTo>
                          <a:pt x="175260" y="200978"/>
                        </a:lnTo>
                        <a:lnTo>
                          <a:pt x="272415" y="217170"/>
                        </a:lnTo>
                        <a:lnTo>
                          <a:pt x="151448" y="0"/>
                        </a:lnTo>
                        <a:cubicBezTo>
                          <a:pt x="140970" y="13335"/>
                          <a:pt x="127635" y="23813"/>
                          <a:pt x="111442" y="30480"/>
                        </a:cubicBezTo>
                        <a:close/>
                      </a:path>
                    </a:pathLst>
                  </a:custGeom>
                  <a:grpFill/>
                  <a:ln w="9525" cap="flat">
                    <a:noFill/>
                    <a:prstDash val="solid"/>
                    <a:miter/>
                  </a:ln>
                </p:spPr>
                <p:txBody>
                  <a:bodyPr rtlCol="0" anchor="ctr"/>
                  <a:lstStyle/>
                  <a:p>
                    <a:endParaRPr lang="en-US"/>
                  </a:p>
                </p:txBody>
              </p:sp>
            </p:grpSp>
            <p:sp>
              <p:nvSpPr>
                <p:cNvPr id="198" name="Oval 197">
                  <a:extLst>
                    <a:ext uri="{FF2B5EF4-FFF2-40B4-BE49-F238E27FC236}">
                      <a16:creationId xmlns:a16="http://schemas.microsoft.com/office/drawing/2014/main" id="{1B5A47E6-E40A-1EB5-27B5-DA06204C89FE}"/>
                    </a:ext>
                  </a:extLst>
                </p:cNvPr>
                <p:cNvSpPr/>
                <p:nvPr/>
              </p:nvSpPr>
              <p:spPr>
                <a:xfrm>
                  <a:off x="3667035" y="6759901"/>
                  <a:ext cx="226942" cy="226942"/>
                </a:xfrm>
                <a:prstGeom prst="ellipse">
                  <a:avLst/>
                </a:prstGeom>
                <a:solidFill>
                  <a:srgbClr val="FDB91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pic>
              <p:nvPicPr>
                <p:cNvPr id="199" name="Graphic 587" descr="Euro with solid fill">
                  <a:extLst>
                    <a:ext uri="{FF2B5EF4-FFF2-40B4-BE49-F238E27FC236}">
                      <a16:creationId xmlns:a16="http://schemas.microsoft.com/office/drawing/2014/main" id="{E03A38FC-30A6-D3BA-BBCB-1715D68D23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93904" y="6797105"/>
                  <a:ext cx="152533" cy="152533"/>
                </a:xfrm>
                <a:prstGeom prst="rect">
                  <a:avLst/>
                </a:prstGeom>
              </p:spPr>
            </p:pic>
          </p:grpSp>
          <p:grpSp>
            <p:nvGrpSpPr>
              <p:cNvPr id="185" name="Group 184">
                <a:extLst>
                  <a:ext uri="{FF2B5EF4-FFF2-40B4-BE49-F238E27FC236}">
                    <a16:creationId xmlns:a16="http://schemas.microsoft.com/office/drawing/2014/main" id="{948B2068-1F61-E384-A3C9-B0F170937345}"/>
                  </a:ext>
                </a:extLst>
              </p:cNvPr>
              <p:cNvGrpSpPr/>
              <p:nvPr/>
            </p:nvGrpSpPr>
            <p:grpSpPr>
              <a:xfrm>
                <a:off x="5068587" y="5917031"/>
                <a:ext cx="256420" cy="342804"/>
                <a:chOff x="3652316" y="6759901"/>
                <a:chExt cx="256420" cy="342804"/>
              </a:xfrm>
            </p:grpSpPr>
            <p:grpSp>
              <p:nvGrpSpPr>
                <p:cNvPr id="192" name="Group 191">
                  <a:extLst>
                    <a:ext uri="{FF2B5EF4-FFF2-40B4-BE49-F238E27FC236}">
                      <a16:creationId xmlns:a16="http://schemas.microsoft.com/office/drawing/2014/main" id="{C4524058-3C44-CD7F-74B2-1B333E02723F}"/>
                    </a:ext>
                  </a:extLst>
                </p:cNvPr>
                <p:cNvGrpSpPr/>
                <p:nvPr/>
              </p:nvGrpSpPr>
              <p:grpSpPr>
                <a:xfrm>
                  <a:off x="3652316" y="6934926"/>
                  <a:ext cx="256420" cy="167779"/>
                  <a:chOff x="3593327" y="6922881"/>
                  <a:chExt cx="377024" cy="246693"/>
                </a:xfrm>
                <a:solidFill>
                  <a:srgbClr val="FDB913"/>
                </a:solidFill>
              </p:grpSpPr>
              <p:sp>
                <p:nvSpPr>
                  <p:cNvPr id="195" name="Freeform: Shape 583">
                    <a:extLst>
                      <a:ext uri="{FF2B5EF4-FFF2-40B4-BE49-F238E27FC236}">
                        <a16:creationId xmlns:a16="http://schemas.microsoft.com/office/drawing/2014/main" id="{0B6035B6-A176-587F-FD03-05E6A37A377C}"/>
                      </a:ext>
                    </a:extLst>
                  </p:cNvPr>
                  <p:cNvSpPr/>
                  <p:nvPr/>
                </p:nvSpPr>
                <p:spPr>
                  <a:xfrm>
                    <a:off x="3593327" y="6922881"/>
                    <a:ext cx="215540" cy="239661"/>
                  </a:xfrm>
                  <a:custGeom>
                    <a:avLst/>
                    <a:gdLst>
                      <a:gd name="connsiteX0" fmla="*/ 205740 w 263842"/>
                      <a:gd name="connsiteY0" fmla="*/ 48578 h 293369"/>
                      <a:gd name="connsiteX1" fmla="*/ 167640 w 263842"/>
                      <a:gd name="connsiteY1" fmla="*/ 40957 h 293369"/>
                      <a:gd name="connsiteX2" fmla="*/ 118110 w 263842"/>
                      <a:gd name="connsiteY2" fmla="*/ 952 h 293369"/>
                      <a:gd name="connsiteX3" fmla="*/ 114300 w 263842"/>
                      <a:gd name="connsiteY3" fmla="*/ 0 h 293369"/>
                      <a:gd name="connsiteX4" fmla="*/ 0 w 263842"/>
                      <a:gd name="connsiteY4" fmla="*/ 224790 h 293369"/>
                      <a:gd name="connsiteX5" fmla="*/ 96203 w 263842"/>
                      <a:gd name="connsiteY5" fmla="*/ 202883 h 293369"/>
                      <a:gd name="connsiteX6" fmla="*/ 144780 w 263842"/>
                      <a:gd name="connsiteY6" fmla="*/ 293370 h 293369"/>
                      <a:gd name="connsiteX7" fmla="*/ 263843 w 263842"/>
                      <a:gd name="connsiteY7" fmla="*/ 60960 h 293369"/>
                      <a:gd name="connsiteX8" fmla="*/ 225742 w 263842"/>
                      <a:gd name="connsiteY8" fmla="*/ 46672 h 293369"/>
                      <a:gd name="connsiteX9" fmla="*/ 205740 w 263842"/>
                      <a:gd name="connsiteY9" fmla="*/ 48578 h 29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842" h="293369">
                        <a:moveTo>
                          <a:pt x="205740" y="48578"/>
                        </a:moveTo>
                        <a:cubicBezTo>
                          <a:pt x="192405" y="48578"/>
                          <a:pt x="180023" y="45720"/>
                          <a:pt x="167640" y="40957"/>
                        </a:cubicBezTo>
                        <a:cubicBezTo>
                          <a:pt x="147637" y="33338"/>
                          <a:pt x="130492" y="19050"/>
                          <a:pt x="118110" y="952"/>
                        </a:cubicBezTo>
                        <a:cubicBezTo>
                          <a:pt x="117157" y="952"/>
                          <a:pt x="115253" y="0"/>
                          <a:pt x="114300" y="0"/>
                        </a:cubicBezTo>
                        <a:lnTo>
                          <a:pt x="0" y="224790"/>
                        </a:lnTo>
                        <a:lnTo>
                          <a:pt x="96203" y="202883"/>
                        </a:lnTo>
                        <a:lnTo>
                          <a:pt x="144780" y="293370"/>
                        </a:lnTo>
                        <a:lnTo>
                          <a:pt x="263843" y="60960"/>
                        </a:lnTo>
                        <a:cubicBezTo>
                          <a:pt x="250508" y="59055"/>
                          <a:pt x="237173" y="53340"/>
                          <a:pt x="225742" y="46672"/>
                        </a:cubicBezTo>
                        <a:cubicBezTo>
                          <a:pt x="219075" y="47625"/>
                          <a:pt x="212408" y="48578"/>
                          <a:pt x="205740" y="48578"/>
                        </a:cubicBezTo>
                        <a:close/>
                      </a:path>
                    </a:pathLst>
                  </a:custGeom>
                  <a:grpFill/>
                  <a:ln w="9525" cap="flat">
                    <a:noFill/>
                    <a:prstDash val="solid"/>
                    <a:miter/>
                  </a:ln>
                </p:spPr>
                <p:txBody>
                  <a:bodyPr rtlCol="0" anchor="ctr"/>
                  <a:lstStyle/>
                  <a:p>
                    <a:endParaRPr lang="en-US"/>
                  </a:p>
                </p:txBody>
              </p:sp>
              <p:sp>
                <p:nvSpPr>
                  <p:cNvPr id="196" name="Freeform: Shape 584">
                    <a:extLst>
                      <a:ext uri="{FF2B5EF4-FFF2-40B4-BE49-F238E27FC236}">
                        <a16:creationId xmlns:a16="http://schemas.microsoft.com/office/drawing/2014/main" id="{34D88E2B-363F-7BCA-972C-61D20ED31F5B}"/>
                      </a:ext>
                    </a:extLst>
                  </p:cNvPr>
                  <p:cNvSpPr/>
                  <p:nvPr/>
                </p:nvSpPr>
                <p:spPr>
                  <a:xfrm>
                    <a:off x="3747809" y="6939250"/>
                    <a:ext cx="222542" cy="230324"/>
                  </a:xfrm>
                  <a:custGeom>
                    <a:avLst/>
                    <a:gdLst>
                      <a:gd name="connsiteX0" fmla="*/ 111442 w 272414"/>
                      <a:gd name="connsiteY0" fmla="*/ 30480 h 281940"/>
                      <a:gd name="connsiteX1" fmla="*/ 69532 w 272414"/>
                      <a:gd name="connsiteY1" fmla="*/ 39053 h 281940"/>
                      <a:gd name="connsiteX2" fmla="*/ 47625 w 272414"/>
                      <a:gd name="connsiteY2" fmla="*/ 37147 h 281940"/>
                      <a:gd name="connsiteX3" fmla="*/ 0 w 272414"/>
                      <a:gd name="connsiteY3" fmla="*/ 55245 h 281940"/>
                      <a:gd name="connsiteX4" fmla="*/ 125730 w 272414"/>
                      <a:gd name="connsiteY4" fmla="*/ 281940 h 281940"/>
                      <a:gd name="connsiteX5" fmla="*/ 175260 w 272414"/>
                      <a:gd name="connsiteY5" fmla="*/ 200978 h 281940"/>
                      <a:gd name="connsiteX6" fmla="*/ 272415 w 272414"/>
                      <a:gd name="connsiteY6" fmla="*/ 217170 h 281940"/>
                      <a:gd name="connsiteX7" fmla="*/ 151448 w 272414"/>
                      <a:gd name="connsiteY7" fmla="*/ 0 h 281940"/>
                      <a:gd name="connsiteX8" fmla="*/ 111442 w 272414"/>
                      <a:gd name="connsiteY8" fmla="*/ 30480 h 28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414" h="281940">
                        <a:moveTo>
                          <a:pt x="111442" y="30480"/>
                        </a:moveTo>
                        <a:cubicBezTo>
                          <a:pt x="98107" y="36195"/>
                          <a:pt x="83820" y="39053"/>
                          <a:pt x="69532" y="39053"/>
                        </a:cubicBezTo>
                        <a:cubicBezTo>
                          <a:pt x="61913" y="39053"/>
                          <a:pt x="55245" y="38100"/>
                          <a:pt x="47625" y="37147"/>
                        </a:cubicBezTo>
                        <a:cubicBezTo>
                          <a:pt x="33338" y="46672"/>
                          <a:pt x="17145" y="53340"/>
                          <a:pt x="0" y="55245"/>
                        </a:cubicBezTo>
                        <a:lnTo>
                          <a:pt x="125730" y="281940"/>
                        </a:lnTo>
                        <a:lnTo>
                          <a:pt x="175260" y="200978"/>
                        </a:lnTo>
                        <a:lnTo>
                          <a:pt x="272415" y="217170"/>
                        </a:lnTo>
                        <a:lnTo>
                          <a:pt x="151448" y="0"/>
                        </a:lnTo>
                        <a:cubicBezTo>
                          <a:pt x="140970" y="13335"/>
                          <a:pt x="127635" y="23813"/>
                          <a:pt x="111442" y="30480"/>
                        </a:cubicBezTo>
                        <a:close/>
                      </a:path>
                    </a:pathLst>
                  </a:custGeom>
                  <a:grpFill/>
                  <a:ln w="9525" cap="flat">
                    <a:noFill/>
                    <a:prstDash val="solid"/>
                    <a:miter/>
                  </a:ln>
                </p:spPr>
                <p:txBody>
                  <a:bodyPr rtlCol="0" anchor="ctr"/>
                  <a:lstStyle/>
                  <a:p>
                    <a:endParaRPr lang="en-US"/>
                  </a:p>
                </p:txBody>
              </p:sp>
            </p:grpSp>
            <p:sp>
              <p:nvSpPr>
                <p:cNvPr id="193" name="Oval 192">
                  <a:extLst>
                    <a:ext uri="{FF2B5EF4-FFF2-40B4-BE49-F238E27FC236}">
                      <a16:creationId xmlns:a16="http://schemas.microsoft.com/office/drawing/2014/main" id="{B17B2EBA-716E-4C30-B48E-491352B6478A}"/>
                    </a:ext>
                  </a:extLst>
                </p:cNvPr>
                <p:cNvSpPr/>
                <p:nvPr/>
              </p:nvSpPr>
              <p:spPr>
                <a:xfrm>
                  <a:off x="3667035" y="6759901"/>
                  <a:ext cx="226942" cy="226942"/>
                </a:xfrm>
                <a:prstGeom prst="ellipse">
                  <a:avLst/>
                </a:prstGeom>
                <a:solidFill>
                  <a:srgbClr val="FDB91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pic>
              <p:nvPicPr>
                <p:cNvPr id="194" name="Graphic 582" descr="Euro with solid fill">
                  <a:extLst>
                    <a:ext uri="{FF2B5EF4-FFF2-40B4-BE49-F238E27FC236}">
                      <a16:creationId xmlns:a16="http://schemas.microsoft.com/office/drawing/2014/main" id="{70B28359-332D-C63A-10D6-29A20F4F21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93904" y="6797105"/>
                  <a:ext cx="152533" cy="152533"/>
                </a:xfrm>
                <a:prstGeom prst="rect">
                  <a:avLst/>
                </a:prstGeom>
              </p:spPr>
            </p:pic>
          </p:grpSp>
          <p:grpSp>
            <p:nvGrpSpPr>
              <p:cNvPr id="186" name="Group 185">
                <a:extLst>
                  <a:ext uri="{FF2B5EF4-FFF2-40B4-BE49-F238E27FC236}">
                    <a16:creationId xmlns:a16="http://schemas.microsoft.com/office/drawing/2014/main" id="{2EA46ED1-2BFD-2AA2-4390-2D785A0056FD}"/>
                  </a:ext>
                </a:extLst>
              </p:cNvPr>
              <p:cNvGrpSpPr/>
              <p:nvPr/>
            </p:nvGrpSpPr>
            <p:grpSpPr>
              <a:xfrm>
                <a:off x="4389334" y="6223071"/>
                <a:ext cx="256420" cy="342804"/>
                <a:chOff x="3652316" y="6759901"/>
                <a:chExt cx="256420" cy="342804"/>
              </a:xfrm>
            </p:grpSpPr>
            <p:grpSp>
              <p:nvGrpSpPr>
                <p:cNvPr id="187" name="Group 186">
                  <a:extLst>
                    <a:ext uri="{FF2B5EF4-FFF2-40B4-BE49-F238E27FC236}">
                      <a16:creationId xmlns:a16="http://schemas.microsoft.com/office/drawing/2014/main" id="{668FD704-61DA-36BC-3811-65B5D8B1BDB0}"/>
                    </a:ext>
                  </a:extLst>
                </p:cNvPr>
                <p:cNvGrpSpPr/>
                <p:nvPr/>
              </p:nvGrpSpPr>
              <p:grpSpPr>
                <a:xfrm>
                  <a:off x="3652316" y="6934926"/>
                  <a:ext cx="256420" cy="167779"/>
                  <a:chOff x="3593327" y="6922881"/>
                  <a:chExt cx="377024" cy="246693"/>
                </a:xfrm>
                <a:solidFill>
                  <a:srgbClr val="FDB913"/>
                </a:solidFill>
              </p:grpSpPr>
              <p:sp>
                <p:nvSpPr>
                  <p:cNvPr id="190" name="Freeform: Shape 578">
                    <a:extLst>
                      <a:ext uri="{FF2B5EF4-FFF2-40B4-BE49-F238E27FC236}">
                        <a16:creationId xmlns:a16="http://schemas.microsoft.com/office/drawing/2014/main" id="{E92BCE6D-2262-AF62-82D8-51F83EED88FD}"/>
                      </a:ext>
                    </a:extLst>
                  </p:cNvPr>
                  <p:cNvSpPr/>
                  <p:nvPr/>
                </p:nvSpPr>
                <p:spPr>
                  <a:xfrm>
                    <a:off x="3593327" y="6922881"/>
                    <a:ext cx="215540" cy="239661"/>
                  </a:xfrm>
                  <a:custGeom>
                    <a:avLst/>
                    <a:gdLst>
                      <a:gd name="connsiteX0" fmla="*/ 205740 w 263842"/>
                      <a:gd name="connsiteY0" fmla="*/ 48578 h 293369"/>
                      <a:gd name="connsiteX1" fmla="*/ 167640 w 263842"/>
                      <a:gd name="connsiteY1" fmla="*/ 40957 h 293369"/>
                      <a:gd name="connsiteX2" fmla="*/ 118110 w 263842"/>
                      <a:gd name="connsiteY2" fmla="*/ 952 h 293369"/>
                      <a:gd name="connsiteX3" fmla="*/ 114300 w 263842"/>
                      <a:gd name="connsiteY3" fmla="*/ 0 h 293369"/>
                      <a:gd name="connsiteX4" fmla="*/ 0 w 263842"/>
                      <a:gd name="connsiteY4" fmla="*/ 224790 h 293369"/>
                      <a:gd name="connsiteX5" fmla="*/ 96203 w 263842"/>
                      <a:gd name="connsiteY5" fmla="*/ 202883 h 293369"/>
                      <a:gd name="connsiteX6" fmla="*/ 144780 w 263842"/>
                      <a:gd name="connsiteY6" fmla="*/ 293370 h 293369"/>
                      <a:gd name="connsiteX7" fmla="*/ 263843 w 263842"/>
                      <a:gd name="connsiteY7" fmla="*/ 60960 h 293369"/>
                      <a:gd name="connsiteX8" fmla="*/ 225742 w 263842"/>
                      <a:gd name="connsiteY8" fmla="*/ 46672 h 293369"/>
                      <a:gd name="connsiteX9" fmla="*/ 205740 w 263842"/>
                      <a:gd name="connsiteY9" fmla="*/ 48578 h 29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842" h="293369">
                        <a:moveTo>
                          <a:pt x="205740" y="48578"/>
                        </a:moveTo>
                        <a:cubicBezTo>
                          <a:pt x="192405" y="48578"/>
                          <a:pt x="180023" y="45720"/>
                          <a:pt x="167640" y="40957"/>
                        </a:cubicBezTo>
                        <a:cubicBezTo>
                          <a:pt x="147637" y="33338"/>
                          <a:pt x="130492" y="19050"/>
                          <a:pt x="118110" y="952"/>
                        </a:cubicBezTo>
                        <a:cubicBezTo>
                          <a:pt x="117157" y="952"/>
                          <a:pt x="115253" y="0"/>
                          <a:pt x="114300" y="0"/>
                        </a:cubicBezTo>
                        <a:lnTo>
                          <a:pt x="0" y="224790"/>
                        </a:lnTo>
                        <a:lnTo>
                          <a:pt x="96203" y="202883"/>
                        </a:lnTo>
                        <a:lnTo>
                          <a:pt x="144780" y="293370"/>
                        </a:lnTo>
                        <a:lnTo>
                          <a:pt x="263843" y="60960"/>
                        </a:lnTo>
                        <a:cubicBezTo>
                          <a:pt x="250508" y="59055"/>
                          <a:pt x="237173" y="53340"/>
                          <a:pt x="225742" y="46672"/>
                        </a:cubicBezTo>
                        <a:cubicBezTo>
                          <a:pt x="219075" y="47625"/>
                          <a:pt x="212408" y="48578"/>
                          <a:pt x="205740" y="48578"/>
                        </a:cubicBezTo>
                        <a:close/>
                      </a:path>
                    </a:pathLst>
                  </a:custGeom>
                  <a:grpFill/>
                  <a:ln w="9525" cap="flat">
                    <a:noFill/>
                    <a:prstDash val="solid"/>
                    <a:miter/>
                  </a:ln>
                </p:spPr>
                <p:txBody>
                  <a:bodyPr rtlCol="0" anchor="ctr"/>
                  <a:lstStyle/>
                  <a:p>
                    <a:endParaRPr lang="en-US"/>
                  </a:p>
                </p:txBody>
              </p:sp>
              <p:sp>
                <p:nvSpPr>
                  <p:cNvPr id="191" name="Freeform: Shape 579">
                    <a:extLst>
                      <a:ext uri="{FF2B5EF4-FFF2-40B4-BE49-F238E27FC236}">
                        <a16:creationId xmlns:a16="http://schemas.microsoft.com/office/drawing/2014/main" id="{57A1D9A9-99D3-0F43-CA35-884A64CB6CD3}"/>
                      </a:ext>
                    </a:extLst>
                  </p:cNvPr>
                  <p:cNvSpPr/>
                  <p:nvPr/>
                </p:nvSpPr>
                <p:spPr>
                  <a:xfrm>
                    <a:off x="3747809" y="6939250"/>
                    <a:ext cx="222542" cy="230324"/>
                  </a:xfrm>
                  <a:custGeom>
                    <a:avLst/>
                    <a:gdLst>
                      <a:gd name="connsiteX0" fmla="*/ 111442 w 272414"/>
                      <a:gd name="connsiteY0" fmla="*/ 30480 h 281940"/>
                      <a:gd name="connsiteX1" fmla="*/ 69532 w 272414"/>
                      <a:gd name="connsiteY1" fmla="*/ 39053 h 281940"/>
                      <a:gd name="connsiteX2" fmla="*/ 47625 w 272414"/>
                      <a:gd name="connsiteY2" fmla="*/ 37147 h 281940"/>
                      <a:gd name="connsiteX3" fmla="*/ 0 w 272414"/>
                      <a:gd name="connsiteY3" fmla="*/ 55245 h 281940"/>
                      <a:gd name="connsiteX4" fmla="*/ 125730 w 272414"/>
                      <a:gd name="connsiteY4" fmla="*/ 281940 h 281940"/>
                      <a:gd name="connsiteX5" fmla="*/ 175260 w 272414"/>
                      <a:gd name="connsiteY5" fmla="*/ 200978 h 281940"/>
                      <a:gd name="connsiteX6" fmla="*/ 272415 w 272414"/>
                      <a:gd name="connsiteY6" fmla="*/ 217170 h 281940"/>
                      <a:gd name="connsiteX7" fmla="*/ 151448 w 272414"/>
                      <a:gd name="connsiteY7" fmla="*/ 0 h 281940"/>
                      <a:gd name="connsiteX8" fmla="*/ 111442 w 272414"/>
                      <a:gd name="connsiteY8" fmla="*/ 30480 h 28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414" h="281940">
                        <a:moveTo>
                          <a:pt x="111442" y="30480"/>
                        </a:moveTo>
                        <a:cubicBezTo>
                          <a:pt x="98107" y="36195"/>
                          <a:pt x="83820" y="39053"/>
                          <a:pt x="69532" y="39053"/>
                        </a:cubicBezTo>
                        <a:cubicBezTo>
                          <a:pt x="61913" y="39053"/>
                          <a:pt x="55245" y="38100"/>
                          <a:pt x="47625" y="37147"/>
                        </a:cubicBezTo>
                        <a:cubicBezTo>
                          <a:pt x="33338" y="46672"/>
                          <a:pt x="17145" y="53340"/>
                          <a:pt x="0" y="55245"/>
                        </a:cubicBezTo>
                        <a:lnTo>
                          <a:pt x="125730" y="281940"/>
                        </a:lnTo>
                        <a:lnTo>
                          <a:pt x="175260" y="200978"/>
                        </a:lnTo>
                        <a:lnTo>
                          <a:pt x="272415" y="217170"/>
                        </a:lnTo>
                        <a:lnTo>
                          <a:pt x="151448" y="0"/>
                        </a:lnTo>
                        <a:cubicBezTo>
                          <a:pt x="140970" y="13335"/>
                          <a:pt x="127635" y="23813"/>
                          <a:pt x="111442" y="30480"/>
                        </a:cubicBezTo>
                        <a:close/>
                      </a:path>
                    </a:pathLst>
                  </a:custGeom>
                  <a:grpFill/>
                  <a:ln w="9525" cap="flat">
                    <a:noFill/>
                    <a:prstDash val="solid"/>
                    <a:miter/>
                  </a:ln>
                </p:spPr>
                <p:txBody>
                  <a:bodyPr rtlCol="0" anchor="ctr"/>
                  <a:lstStyle/>
                  <a:p>
                    <a:endParaRPr lang="en-US"/>
                  </a:p>
                </p:txBody>
              </p:sp>
            </p:grpSp>
            <p:sp>
              <p:nvSpPr>
                <p:cNvPr id="188" name="Oval 187">
                  <a:extLst>
                    <a:ext uri="{FF2B5EF4-FFF2-40B4-BE49-F238E27FC236}">
                      <a16:creationId xmlns:a16="http://schemas.microsoft.com/office/drawing/2014/main" id="{71A562D1-C8B9-75E8-ACAC-398F085A2612}"/>
                    </a:ext>
                  </a:extLst>
                </p:cNvPr>
                <p:cNvSpPr/>
                <p:nvPr/>
              </p:nvSpPr>
              <p:spPr>
                <a:xfrm>
                  <a:off x="3667035" y="6759901"/>
                  <a:ext cx="226942" cy="226942"/>
                </a:xfrm>
                <a:prstGeom prst="ellipse">
                  <a:avLst/>
                </a:prstGeom>
                <a:solidFill>
                  <a:srgbClr val="FDB91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pic>
              <p:nvPicPr>
                <p:cNvPr id="189" name="Graphic 577" descr="Euro with solid fill">
                  <a:extLst>
                    <a:ext uri="{FF2B5EF4-FFF2-40B4-BE49-F238E27FC236}">
                      <a16:creationId xmlns:a16="http://schemas.microsoft.com/office/drawing/2014/main" id="{C5FE2D78-428D-13EA-E7CA-08CE99B961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93904" y="6797105"/>
                  <a:ext cx="152533" cy="152533"/>
                </a:xfrm>
                <a:prstGeom prst="rect">
                  <a:avLst/>
                </a:prstGeom>
              </p:spPr>
            </p:pic>
          </p:grpSp>
        </p:grpSp>
      </p:grpSp>
      <p:grpSp>
        <p:nvGrpSpPr>
          <p:cNvPr id="321" name="Group 320"/>
          <p:cNvGrpSpPr/>
          <p:nvPr/>
        </p:nvGrpSpPr>
        <p:grpSpPr>
          <a:xfrm>
            <a:off x="5208766" y="1722655"/>
            <a:ext cx="1654327" cy="1925904"/>
            <a:chOff x="4506265" y="2067040"/>
            <a:chExt cx="1654327" cy="1925904"/>
          </a:xfrm>
        </p:grpSpPr>
        <p:sp>
          <p:nvSpPr>
            <p:cNvPr id="16" name="Rectangle: Rounded Corners 9">
              <a:extLst>
                <a:ext uri="{FF2B5EF4-FFF2-40B4-BE49-F238E27FC236}">
                  <a16:creationId xmlns:a16="http://schemas.microsoft.com/office/drawing/2014/main" id="{DE39ABB0-07C5-9BDE-0BCD-DAF974288BE9}"/>
                </a:ext>
              </a:extLst>
            </p:cNvPr>
            <p:cNvSpPr/>
            <p:nvPr/>
          </p:nvSpPr>
          <p:spPr>
            <a:xfrm>
              <a:off x="4506265" y="2067040"/>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30" name="TextBox 29">
              <a:extLst>
                <a:ext uri="{FF2B5EF4-FFF2-40B4-BE49-F238E27FC236}">
                  <a16:creationId xmlns:a16="http://schemas.microsoft.com/office/drawing/2014/main" id="{54B94B3F-9B6D-CCE3-3038-2CD994EFE0EB}"/>
                </a:ext>
              </a:extLst>
            </p:cNvPr>
            <p:cNvSpPr txBox="1"/>
            <p:nvPr/>
          </p:nvSpPr>
          <p:spPr>
            <a:xfrm>
              <a:off x="4554237" y="3206811"/>
              <a:ext cx="1606355" cy="769441"/>
            </a:xfrm>
            <a:prstGeom prst="rect">
              <a:avLst/>
            </a:prstGeom>
            <a:noFill/>
          </p:spPr>
          <p:txBody>
            <a:bodyPr wrap="square">
              <a:spAutoFit/>
            </a:bodyPr>
            <a:lstStyle/>
            <a:p>
              <a:pPr marR="0" lvl="0" algn="ctr">
                <a:spcBef>
                  <a:spcPts val="0"/>
                </a:spcBef>
                <a:spcAft>
                  <a:spcPts val="0"/>
                </a:spcAft>
              </a:pPr>
              <a:r>
                <a:rPr lang="en-US" sz="1100">
                  <a:effectLst/>
                  <a:ea typeface="Times New Roman" panose="02020603050405020304" pitchFamily="18" charset="0"/>
                </a:rPr>
                <a:t>Bidders’ prequal. materials are checked and bids are ranked by CINEA</a:t>
              </a:r>
            </a:p>
          </p:txBody>
        </p:sp>
        <p:sp>
          <p:nvSpPr>
            <p:cNvPr id="37" name="Titel 1">
              <a:extLst>
                <a:ext uri="{FF2B5EF4-FFF2-40B4-BE49-F238E27FC236}">
                  <a16:creationId xmlns:a16="http://schemas.microsoft.com/office/drawing/2014/main" id="{0AFDEC25-5F98-E98C-0B89-44A9348786BE}"/>
                </a:ext>
              </a:extLst>
            </p:cNvPr>
            <p:cNvSpPr txBox="1">
              <a:spLocks/>
            </p:cNvSpPr>
            <p:nvPr/>
          </p:nvSpPr>
          <p:spPr>
            <a:xfrm>
              <a:off x="4517680" y="2138460"/>
              <a:ext cx="438912"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3</a:t>
              </a:r>
            </a:p>
          </p:txBody>
        </p:sp>
        <p:grpSp>
          <p:nvGrpSpPr>
            <p:cNvPr id="82" name="Group 81">
              <a:extLst>
                <a:ext uri="{FF2B5EF4-FFF2-40B4-BE49-F238E27FC236}">
                  <a16:creationId xmlns:a16="http://schemas.microsoft.com/office/drawing/2014/main" id="{D66E9E9D-4659-5C8D-0165-008786BF95C3}"/>
                </a:ext>
              </a:extLst>
            </p:cNvPr>
            <p:cNvGrpSpPr/>
            <p:nvPr/>
          </p:nvGrpSpPr>
          <p:grpSpPr>
            <a:xfrm>
              <a:off x="5424885" y="2335781"/>
              <a:ext cx="552827" cy="708373"/>
              <a:chOff x="1129910" y="3196971"/>
              <a:chExt cx="590251" cy="756327"/>
            </a:xfrm>
          </p:grpSpPr>
          <p:sp>
            <p:nvSpPr>
              <p:cNvPr id="83" name="Rectangle: Rounded Corners 449">
                <a:extLst>
                  <a:ext uri="{FF2B5EF4-FFF2-40B4-BE49-F238E27FC236}">
                    <a16:creationId xmlns:a16="http://schemas.microsoft.com/office/drawing/2014/main" id="{5F7D7D66-E606-3AAC-0A2B-0A648DCB4BA6}"/>
                  </a:ext>
                </a:extLst>
              </p:cNvPr>
              <p:cNvSpPr/>
              <p:nvPr/>
            </p:nvSpPr>
            <p:spPr>
              <a:xfrm>
                <a:off x="1129910" y="3196971"/>
                <a:ext cx="590251" cy="756327"/>
              </a:xfrm>
              <a:prstGeom prst="roundRect">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84" name="Rectangle: Rounded Corners 450">
                <a:extLst>
                  <a:ext uri="{FF2B5EF4-FFF2-40B4-BE49-F238E27FC236}">
                    <a16:creationId xmlns:a16="http://schemas.microsoft.com/office/drawing/2014/main" id="{6F4DA00C-12B8-B131-B248-9D05E2CAFAD0}"/>
                  </a:ext>
                </a:extLst>
              </p:cNvPr>
              <p:cNvSpPr/>
              <p:nvPr/>
            </p:nvSpPr>
            <p:spPr>
              <a:xfrm>
                <a:off x="1161688" y="3236036"/>
                <a:ext cx="527989" cy="677463"/>
              </a:xfrm>
              <a:prstGeom prst="round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nvGrpSpPr>
              <p:cNvPr id="85" name="Group 84">
                <a:extLst>
                  <a:ext uri="{FF2B5EF4-FFF2-40B4-BE49-F238E27FC236}">
                    <a16:creationId xmlns:a16="http://schemas.microsoft.com/office/drawing/2014/main" id="{66FD8537-EFFB-7D6D-68A9-BFD6D9318BD3}"/>
                  </a:ext>
                </a:extLst>
              </p:cNvPr>
              <p:cNvGrpSpPr/>
              <p:nvPr/>
            </p:nvGrpSpPr>
            <p:grpSpPr>
              <a:xfrm>
                <a:off x="1260334" y="3357053"/>
                <a:ext cx="326927" cy="130597"/>
                <a:chOff x="9584583" y="1046480"/>
                <a:chExt cx="756086" cy="130597"/>
              </a:xfrm>
            </p:grpSpPr>
            <p:cxnSp>
              <p:nvCxnSpPr>
                <p:cNvPr id="95" name="Straight Connector 94">
                  <a:extLst>
                    <a:ext uri="{FF2B5EF4-FFF2-40B4-BE49-F238E27FC236}">
                      <a16:creationId xmlns:a16="http://schemas.microsoft.com/office/drawing/2014/main" id="{5AC76B5D-AC50-30D8-5112-BB46374A5C09}"/>
                    </a:ext>
                  </a:extLst>
                </p:cNvPr>
                <p:cNvCxnSpPr>
                  <a:cxnSpLocks/>
                </p:cNvCxnSpPr>
                <p:nvPr/>
              </p:nvCxnSpPr>
              <p:spPr>
                <a:xfrm>
                  <a:off x="9584583" y="1046480"/>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9477828-4C52-6EA3-90D5-24E454C4A5A5}"/>
                    </a:ext>
                  </a:extLst>
                </p:cNvPr>
                <p:cNvCxnSpPr>
                  <a:cxnSpLocks/>
                </p:cNvCxnSpPr>
                <p:nvPr/>
              </p:nvCxnSpPr>
              <p:spPr>
                <a:xfrm>
                  <a:off x="9617298" y="1177077"/>
                  <a:ext cx="582203"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64EB2A99-740C-CC47-6BF2-7D4B4EE1894C}"/>
                  </a:ext>
                </a:extLst>
              </p:cNvPr>
              <p:cNvGrpSpPr/>
              <p:nvPr/>
            </p:nvGrpSpPr>
            <p:grpSpPr>
              <a:xfrm>
                <a:off x="1258777" y="3416499"/>
                <a:ext cx="342635" cy="193857"/>
                <a:chOff x="9580983" y="964129"/>
                <a:chExt cx="792414" cy="193857"/>
              </a:xfrm>
            </p:grpSpPr>
            <p:cxnSp>
              <p:nvCxnSpPr>
                <p:cNvPr id="93" name="Straight Connector 92">
                  <a:extLst>
                    <a:ext uri="{FF2B5EF4-FFF2-40B4-BE49-F238E27FC236}">
                      <a16:creationId xmlns:a16="http://schemas.microsoft.com/office/drawing/2014/main" id="{3FFDF4AF-2B16-CC8B-49FF-6ECE1F4B8AA6}"/>
                    </a:ext>
                  </a:extLst>
                </p:cNvPr>
                <p:cNvCxnSpPr>
                  <a:cxnSpLocks/>
                </p:cNvCxnSpPr>
                <p:nvPr/>
              </p:nvCxnSpPr>
              <p:spPr>
                <a:xfrm>
                  <a:off x="9617311" y="964129"/>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325B388-2CA2-6ECC-A138-6766A7462E15}"/>
                    </a:ext>
                  </a:extLst>
                </p:cNvPr>
                <p:cNvCxnSpPr>
                  <a:cxnSpLocks/>
                </p:cNvCxnSpPr>
                <p:nvPr/>
              </p:nvCxnSpPr>
              <p:spPr>
                <a:xfrm>
                  <a:off x="9580983" y="1157986"/>
                  <a:ext cx="582203"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E3821001-9313-7467-C387-694B19D34187}"/>
                  </a:ext>
                </a:extLst>
              </p:cNvPr>
              <p:cNvGrpSpPr/>
              <p:nvPr/>
            </p:nvGrpSpPr>
            <p:grpSpPr>
              <a:xfrm>
                <a:off x="1250933" y="3559459"/>
                <a:ext cx="326927" cy="209806"/>
                <a:chOff x="9562841" y="965292"/>
                <a:chExt cx="756086" cy="209806"/>
              </a:xfrm>
            </p:grpSpPr>
            <p:cxnSp>
              <p:nvCxnSpPr>
                <p:cNvPr id="91" name="Straight Connector 90">
                  <a:extLst>
                    <a:ext uri="{FF2B5EF4-FFF2-40B4-BE49-F238E27FC236}">
                      <a16:creationId xmlns:a16="http://schemas.microsoft.com/office/drawing/2014/main" id="{0C29DC33-DD79-A494-CF70-077E5D74FE8E}"/>
                    </a:ext>
                  </a:extLst>
                </p:cNvPr>
                <p:cNvCxnSpPr>
                  <a:cxnSpLocks/>
                </p:cNvCxnSpPr>
                <p:nvPr/>
              </p:nvCxnSpPr>
              <p:spPr>
                <a:xfrm>
                  <a:off x="9562841" y="965292"/>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E3EFF63-4A77-2E0F-E01C-8F7F73BAB474}"/>
                    </a:ext>
                  </a:extLst>
                </p:cNvPr>
                <p:cNvCxnSpPr>
                  <a:cxnSpLocks/>
                </p:cNvCxnSpPr>
                <p:nvPr/>
              </p:nvCxnSpPr>
              <p:spPr>
                <a:xfrm>
                  <a:off x="9617298" y="1175098"/>
                  <a:ext cx="582203"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D317C861-C85A-B670-661F-8C19E5B7878C}"/>
                  </a:ext>
                </a:extLst>
              </p:cNvPr>
              <p:cNvGrpSpPr/>
              <p:nvPr/>
            </p:nvGrpSpPr>
            <p:grpSpPr>
              <a:xfrm>
                <a:off x="1258777" y="3712527"/>
                <a:ext cx="326927" cy="114204"/>
                <a:chOff x="9580983" y="976564"/>
                <a:chExt cx="756086" cy="114204"/>
              </a:xfrm>
            </p:grpSpPr>
            <p:cxnSp>
              <p:nvCxnSpPr>
                <p:cNvPr id="89" name="Straight Connector 88">
                  <a:extLst>
                    <a:ext uri="{FF2B5EF4-FFF2-40B4-BE49-F238E27FC236}">
                      <a16:creationId xmlns:a16="http://schemas.microsoft.com/office/drawing/2014/main" id="{794E762E-783B-6025-C76C-84B4F247D7D3}"/>
                    </a:ext>
                  </a:extLst>
                </p:cNvPr>
                <p:cNvCxnSpPr>
                  <a:cxnSpLocks/>
                </p:cNvCxnSpPr>
                <p:nvPr/>
              </p:nvCxnSpPr>
              <p:spPr>
                <a:xfrm>
                  <a:off x="9580983" y="976564"/>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DCC9E02-8577-3A93-D1B8-580E144D8902}"/>
                    </a:ext>
                  </a:extLst>
                </p:cNvPr>
                <p:cNvCxnSpPr>
                  <a:cxnSpLocks/>
                </p:cNvCxnSpPr>
                <p:nvPr/>
              </p:nvCxnSpPr>
              <p:spPr>
                <a:xfrm>
                  <a:off x="9649784" y="1090768"/>
                  <a:ext cx="582203"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pic>
          <p:nvPicPr>
            <p:cNvPr id="97" name="Graphic 463" descr="Checkmark with solid fill">
              <a:extLst>
                <a:ext uri="{FF2B5EF4-FFF2-40B4-BE49-F238E27FC236}">
                  <a16:creationId xmlns:a16="http://schemas.microsoft.com/office/drawing/2014/main" id="{597DDE13-EFDC-B5D8-3F0F-E177ECB745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17770" y="2556400"/>
              <a:ext cx="360152" cy="360152"/>
            </a:xfrm>
            <a:prstGeom prst="rect">
              <a:avLst/>
            </a:prstGeom>
          </p:spPr>
        </p:pic>
        <p:grpSp>
          <p:nvGrpSpPr>
            <p:cNvPr id="214" name="Group 213">
              <a:extLst>
                <a:ext uri="{FF2B5EF4-FFF2-40B4-BE49-F238E27FC236}">
                  <a16:creationId xmlns:a16="http://schemas.microsoft.com/office/drawing/2014/main" id="{CE8FFF5E-2585-9419-B1DC-6B4AA9B73DA5}"/>
                </a:ext>
              </a:extLst>
            </p:cNvPr>
            <p:cNvGrpSpPr/>
            <p:nvPr/>
          </p:nvGrpSpPr>
          <p:grpSpPr>
            <a:xfrm>
              <a:off x="4633034" y="2480636"/>
              <a:ext cx="762124" cy="676525"/>
              <a:chOff x="4253780" y="3612154"/>
              <a:chExt cx="1389418" cy="1116952"/>
            </a:xfrm>
          </p:grpSpPr>
          <p:grpSp>
            <p:nvGrpSpPr>
              <p:cNvPr id="215" name="Group 214">
                <a:extLst>
                  <a:ext uri="{FF2B5EF4-FFF2-40B4-BE49-F238E27FC236}">
                    <a16:creationId xmlns:a16="http://schemas.microsoft.com/office/drawing/2014/main" id="{D2232E8E-DFDA-3E9F-C8F6-1EAE01AE46C8}"/>
                  </a:ext>
                </a:extLst>
              </p:cNvPr>
              <p:cNvGrpSpPr/>
              <p:nvPr/>
            </p:nvGrpSpPr>
            <p:grpSpPr>
              <a:xfrm>
                <a:off x="4253780" y="3612154"/>
                <a:ext cx="308840" cy="330914"/>
                <a:chOff x="3169236" y="5197970"/>
                <a:chExt cx="308840" cy="330914"/>
              </a:xfrm>
            </p:grpSpPr>
            <p:sp>
              <p:nvSpPr>
                <p:cNvPr id="234" name="Oval 233">
                  <a:extLst>
                    <a:ext uri="{FF2B5EF4-FFF2-40B4-BE49-F238E27FC236}">
                      <a16:creationId xmlns:a16="http://schemas.microsoft.com/office/drawing/2014/main" id="{2CAE5EF1-BB3F-F847-FBBE-EA026CA8A2CF}"/>
                    </a:ext>
                  </a:extLst>
                </p:cNvPr>
                <p:cNvSpPr/>
                <p:nvPr/>
              </p:nvSpPr>
              <p:spPr>
                <a:xfrm>
                  <a:off x="3169236" y="5220044"/>
                  <a:ext cx="308840" cy="30884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000">
                    <a:solidFill>
                      <a:schemeClr val="tx1"/>
                    </a:solidFill>
                  </a:endParaRPr>
                </a:p>
              </p:txBody>
            </p:sp>
            <p:sp>
              <p:nvSpPr>
                <p:cNvPr id="235" name="Titel 1">
                  <a:extLst>
                    <a:ext uri="{FF2B5EF4-FFF2-40B4-BE49-F238E27FC236}">
                      <a16:creationId xmlns:a16="http://schemas.microsoft.com/office/drawing/2014/main" id="{57B89E5C-CFD3-6C8D-6796-9C193D6A6319}"/>
                    </a:ext>
                  </a:extLst>
                </p:cNvPr>
                <p:cNvSpPr txBox="1">
                  <a:spLocks/>
                </p:cNvSpPr>
                <p:nvPr/>
              </p:nvSpPr>
              <p:spPr>
                <a:xfrm>
                  <a:off x="3231926" y="5197970"/>
                  <a:ext cx="166043" cy="208597"/>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900">
                      <a:solidFill>
                        <a:schemeClr val="bg1"/>
                      </a:solidFill>
                      <a:latin typeface="+mj-lt"/>
                    </a:rPr>
                    <a:t>1</a:t>
                  </a:r>
                  <a:endParaRPr lang="en-GB" sz="1100">
                    <a:solidFill>
                      <a:schemeClr val="bg1"/>
                    </a:solidFill>
                    <a:latin typeface="+mj-lt"/>
                  </a:endParaRPr>
                </a:p>
              </p:txBody>
            </p:sp>
          </p:grpSp>
          <p:sp>
            <p:nvSpPr>
              <p:cNvPr id="216" name="Rectangle: Rounded Corners 6">
                <a:extLst>
                  <a:ext uri="{FF2B5EF4-FFF2-40B4-BE49-F238E27FC236}">
                    <a16:creationId xmlns:a16="http://schemas.microsoft.com/office/drawing/2014/main" id="{3DA86264-1B90-39AC-CB29-3B8993194B4A}"/>
                  </a:ext>
                </a:extLst>
              </p:cNvPr>
              <p:cNvSpPr/>
              <p:nvPr/>
            </p:nvSpPr>
            <p:spPr>
              <a:xfrm>
                <a:off x="4625589" y="3667415"/>
                <a:ext cx="1017609" cy="285883"/>
              </a:xfrm>
              <a:prstGeom prst="round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500">
                  <a:solidFill>
                    <a:schemeClr val="tx1"/>
                  </a:solidFill>
                </a:endParaRPr>
              </a:p>
            </p:txBody>
          </p:sp>
          <p:sp>
            <p:nvSpPr>
              <p:cNvPr id="217" name="Rectangle: Rounded Corners 7">
                <a:extLst>
                  <a:ext uri="{FF2B5EF4-FFF2-40B4-BE49-F238E27FC236}">
                    <a16:creationId xmlns:a16="http://schemas.microsoft.com/office/drawing/2014/main" id="{AE54F719-9ABE-4BBF-62A3-884BB951528C}"/>
                  </a:ext>
                </a:extLst>
              </p:cNvPr>
              <p:cNvSpPr/>
              <p:nvPr/>
            </p:nvSpPr>
            <p:spPr>
              <a:xfrm>
                <a:off x="4625589" y="4051896"/>
                <a:ext cx="1017609" cy="285883"/>
              </a:xfrm>
              <a:prstGeom prst="round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500">
                  <a:solidFill>
                    <a:schemeClr val="tx1"/>
                  </a:solidFill>
                </a:endParaRPr>
              </a:p>
            </p:txBody>
          </p:sp>
          <p:sp>
            <p:nvSpPr>
              <p:cNvPr id="218" name="Rectangle: Rounded Corners 11">
                <a:extLst>
                  <a:ext uri="{FF2B5EF4-FFF2-40B4-BE49-F238E27FC236}">
                    <a16:creationId xmlns:a16="http://schemas.microsoft.com/office/drawing/2014/main" id="{940698E9-3C28-DEC4-03C6-B13123A9E830}"/>
                  </a:ext>
                </a:extLst>
              </p:cNvPr>
              <p:cNvSpPr/>
              <p:nvPr/>
            </p:nvSpPr>
            <p:spPr>
              <a:xfrm>
                <a:off x="4625589" y="4436376"/>
                <a:ext cx="1017609" cy="285883"/>
              </a:xfrm>
              <a:prstGeom prst="round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500">
                  <a:solidFill>
                    <a:schemeClr val="tx1"/>
                  </a:solidFill>
                </a:endParaRPr>
              </a:p>
            </p:txBody>
          </p:sp>
          <p:grpSp>
            <p:nvGrpSpPr>
              <p:cNvPr id="219" name="Group 218">
                <a:extLst>
                  <a:ext uri="{FF2B5EF4-FFF2-40B4-BE49-F238E27FC236}">
                    <a16:creationId xmlns:a16="http://schemas.microsoft.com/office/drawing/2014/main" id="{FF9A2B7F-544D-B6E0-D1B3-E586E9E2C2DA}"/>
                  </a:ext>
                </a:extLst>
              </p:cNvPr>
              <p:cNvGrpSpPr/>
              <p:nvPr/>
            </p:nvGrpSpPr>
            <p:grpSpPr>
              <a:xfrm>
                <a:off x="4253780" y="4005173"/>
                <a:ext cx="308840" cy="330914"/>
                <a:chOff x="3169236" y="5197970"/>
                <a:chExt cx="308840" cy="330914"/>
              </a:xfrm>
            </p:grpSpPr>
            <p:sp>
              <p:nvSpPr>
                <p:cNvPr id="232" name="Oval 231">
                  <a:extLst>
                    <a:ext uri="{FF2B5EF4-FFF2-40B4-BE49-F238E27FC236}">
                      <a16:creationId xmlns:a16="http://schemas.microsoft.com/office/drawing/2014/main" id="{FC368325-C607-7D95-BE04-30FE5E6A3CC6}"/>
                    </a:ext>
                  </a:extLst>
                </p:cNvPr>
                <p:cNvSpPr/>
                <p:nvPr/>
              </p:nvSpPr>
              <p:spPr>
                <a:xfrm>
                  <a:off x="3169236" y="5220044"/>
                  <a:ext cx="308840" cy="30884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000">
                    <a:solidFill>
                      <a:schemeClr val="tx1"/>
                    </a:solidFill>
                  </a:endParaRPr>
                </a:p>
              </p:txBody>
            </p:sp>
            <p:sp>
              <p:nvSpPr>
                <p:cNvPr id="233" name="Titel 1">
                  <a:extLst>
                    <a:ext uri="{FF2B5EF4-FFF2-40B4-BE49-F238E27FC236}">
                      <a16:creationId xmlns:a16="http://schemas.microsoft.com/office/drawing/2014/main" id="{4C97984D-E559-F556-D203-81915CEC2E6F}"/>
                    </a:ext>
                  </a:extLst>
                </p:cNvPr>
                <p:cNvSpPr txBox="1">
                  <a:spLocks/>
                </p:cNvSpPr>
                <p:nvPr/>
              </p:nvSpPr>
              <p:spPr>
                <a:xfrm>
                  <a:off x="3231926" y="5197970"/>
                  <a:ext cx="166043" cy="208597"/>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900">
                      <a:solidFill>
                        <a:schemeClr val="bg1"/>
                      </a:solidFill>
                      <a:latin typeface="+mj-lt"/>
                    </a:rPr>
                    <a:t>2</a:t>
                  </a:r>
                  <a:endParaRPr lang="en-GB" sz="1100">
                    <a:solidFill>
                      <a:schemeClr val="bg1"/>
                    </a:solidFill>
                    <a:latin typeface="+mj-lt"/>
                  </a:endParaRPr>
                </a:p>
              </p:txBody>
            </p:sp>
          </p:grpSp>
          <p:grpSp>
            <p:nvGrpSpPr>
              <p:cNvPr id="220" name="Group 219">
                <a:extLst>
                  <a:ext uri="{FF2B5EF4-FFF2-40B4-BE49-F238E27FC236}">
                    <a16:creationId xmlns:a16="http://schemas.microsoft.com/office/drawing/2014/main" id="{F92C3528-AE1C-B8FD-1612-32E1E847FDE1}"/>
                  </a:ext>
                </a:extLst>
              </p:cNvPr>
              <p:cNvGrpSpPr/>
              <p:nvPr/>
            </p:nvGrpSpPr>
            <p:grpSpPr>
              <a:xfrm>
                <a:off x="4253780" y="4405888"/>
                <a:ext cx="308840" cy="323218"/>
                <a:chOff x="3169236" y="5205666"/>
                <a:chExt cx="308840" cy="323218"/>
              </a:xfrm>
            </p:grpSpPr>
            <p:sp>
              <p:nvSpPr>
                <p:cNvPr id="230" name="Oval 229">
                  <a:extLst>
                    <a:ext uri="{FF2B5EF4-FFF2-40B4-BE49-F238E27FC236}">
                      <a16:creationId xmlns:a16="http://schemas.microsoft.com/office/drawing/2014/main" id="{56236414-EFFE-44E8-B07E-D464D47760C5}"/>
                    </a:ext>
                  </a:extLst>
                </p:cNvPr>
                <p:cNvSpPr/>
                <p:nvPr/>
              </p:nvSpPr>
              <p:spPr>
                <a:xfrm>
                  <a:off x="3169236" y="5220044"/>
                  <a:ext cx="308840" cy="30884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000">
                    <a:solidFill>
                      <a:schemeClr val="tx1"/>
                    </a:solidFill>
                  </a:endParaRPr>
                </a:p>
              </p:txBody>
            </p:sp>
            <p:sp>
              <p:nvSpPr>
                <p:cNvPr id="231" name="Titel 1">
                  <a:extLst>
                    <a:ext uri="{FF2B5EF4-FFF2-40B4-BE49-F238E27FC236}">
                      <a16:creationId xmlns:a16="http://schemas.microsoft.com/office/drawing/2014/main" id="{7B64935C-7208-8C9E-914E-21308439F7D6}"/>
                    </a:ext>
                  </a:extLst>
                </p:cNvPr>
                <p:cNvSpPr txBox="1">
                  <a:spLocks/>
                </p:cNvSpPr>
                <p:nvPr/>
              </p:nvSpPr>
              <p:spPr>
                <a:xfrm>
                  <a:off x="3231926" y="5205666"/>
                  <a:ext cx="166043" cy="208597"/>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900">
                      <a:solidFill>
                        <a:schemeClr val="bg1"/>
                      </a:solidFill>
                      <a:latin typeface="+mj-lt"/>
                    </a:rPr>
                    <a:t>3</a:t>
                  </a:r>
                  <a:endParaRPr lang="en-GB" sz="1100">
                    <a:solidFill>
                      <a:schemeClr val="bg1"/>
                    </a:solidFill>
                    <a:latin typeface="+mj-lt"/>
                  </a:endParaRPr>
                </a:p>
              </p:txBody>
            </p:sp>
          </p:grpSp>
          <p:grpSp>
            <p:nvGrpSpPr>
              <p:cNvPr id="221" name="Group 220">
                <a:extLst>
                  <a:ext uri="{FF2B5EF4-FFF2-40B4-BE49-F238E27FC236}">
                    <a16:creationId xmlns:a16="http://schemas.microsoft.com/office/drawing/2014/main" id="{CB2A325C-022A-476A-AE26-AB9F5FB3F5D1}"/>
                  </a:ext>
                </a:extLst>
              </p:cNvPr>
              <p:cNvGrpSpPr/>
              <p:nvPr/>
            </p:nvGrpSpPr>
            <p:grpSpPr>
              <a:xfrm>
                <a:off x="4706841" y="3774448"/>
                <a:ext cx="814148" cy="85795"/>
                <a:chOff x="4710269" y="3765739"/>
                <a:chExt cx="814148" cy="85795"/>
              </a:xfrm>
            </p:grpSpPr>
            <p:cxnSp>
              <p:nvCxnSpPr>
                <p:cNvPr id="228" name="Straight Connector 227">
                  <a:extLst>
                    <a:ext uri="{FF2B5EF4-FFF2-40B4-BE49-F238E27FC236}">
                      <a16:creationId xmlns:a16="http://schemas.microsoft.com/office/drawing/2014/main" id="{5EEC88AC-9C37-F540-5071-CCAFC1CF3C50}"/>
                    </a:ext>
                  </a:extLst>
                </p:cNvPr>
                <p:cNvCxnSpPr>
                  <a:cxnSpLocks/>
                </p:cNvCxnSpPr>
                <p:nvPr/>
              </p:nvCxnSpPr>
              <p:spPr>
                <a:xfrm>
                  <a:off x="4710269" y="3765739"/>
                  <a:ext cx="814148"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843B181-4522-DD37-7AD9-2505498C7046}"/>
                    </a:ext>
                  </a:extLst>
                </p:cNvPr>
                <p:cNvCxnSpPr>
                  <a:cxnSpLocks/>
                </p:cNvCxnSpPr>
                <p:nvPr/>
              </p:nvCxnSpPr>
              <p:spPr>
                <a:xfrm>
                  <a:off x="4710269" y="3851534"/>
                  <a:ext cx="56276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2" name="Group 221">
                <a:extLst>
                  <a:ext uri="{FF2B5EF4-FFF2-40B4-BE49-F238E27FC236}">
                    <a16:creationId xmlns:a16="http://schemas.microsoft.com/office/drawing/2014/main" id="{CF653A6A-C13A-7986-7396-BE8571C5CBB3}"/>
                  </a:ext>
                </a:extLst>
              </p:cNvPr>
              <p:cNvGrpSpPr/>
              <p:nvPr/>
            </p:nvGrpSpPr>
            <p:grpSpPr>
              <a:xfrm>
                <a:off x="4706841" y="4167467"/>
                <a:ext cx="814148" cy="85795"/>
                <a:chOff x="4732716" y="4158758"/>
                <a:chExt cx="814148" cy="85795"/>
              </a:xfrm>
            </p:grpSpPr>
            <p:cxnSp>
              <p:nvCxnSpPr>
                <p:cNvPr id="226" name="Straight Connector 225">
                  <a:extLst>
                    <a:ext uri="{FF2B5EF4-FFF2-40B4-BE49-F238E27FC236}">
                      <a16:creationId xmlns:a16="http://schemas.microsoft.com/office/drawing/2014/main" id="{273AB135-2890-3019-5D7B-D8D7F5BE4965}"/>
                    </a:ext>
                  </a:extLst>
                </p:cNvPr>
                <p:cNvCxnSpPr>
                  <a:cxnSpLocks/>
                </p:cNvCxnSpPr>
                <p:nvPr/>
              </p:nvCxnSpPr>
              <p:spPr>
                <a:xfrm>
                  <a:off x="4732716" y="4158758"/>
                  <a:ext cx="814148"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2D0F5F5F-90AC-8315-E1C8-933A698EA8CF}"/>
                    </a:ext>
                  </a:extLst>
                </p:cNvPr>
                <p:cNvCxnSpPr>
                  <a:cxnSpLocks/>
                </p:cNvCxnSpPr>
                <p:nvPr/>
              </p:nvCxnSpPr>
              <p:spPr>
                <a:xfrm>
                  <a:off x="4732716" y="4244553"/>
                  <a:ext cx="56276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3" name="Group 222">
                <a:extLst>
                  <a:ext uri="{FF2B5EF4-FFF2-40B4-BE49-F238E27FC236}">
                    <a16:creationId xmlns:a16="http://schemas.microsoft.com/office/drawing/2014/main" id="{C3166798-5CBE-C573-6679-B55EF9E4E0CA}"/>
                  </a:ext>
                </a:extLst>
              </p:cNvPr>
              <p:cNvGrpSpPr/>
              <p:nvPr/>
            </p:nvGrpSpPr>
            <p:grpSpPr>
              <a:xfrm>
                <a:off x="4706841" y="4532436"/>
                <a:ext cx="814148" cy="85795"/>
                <a:chOff x="4689423" y="4523727"/>
                <a:chExt cx="814148" cy="85795"/>
              </a:xfrm>
            </p:grpSpPr>
            <p:cxnSp>
              <p:nvCxnSpPr>
                <p:cNvPr id="224" name="Straight Connector 223">
                  <a:extLst>
                    <a:ext uri="{FF2B5EF4-FFF2-40B4-BE49-F238E27FC236}">
                      <a16:creationId xmlns:a16="http://schemas.microsoft.com/office/drawing/2014/main" id="{C0F578AF-5B0F-EA53-7706-6FBDDEA34112}"/>
                    </a:ext>
                  </a:extLst>
                </p:cNvPr>
                <p:cNvCxnSpPr>
                  <a:cxnSpLocks/>
                </p:cNvCxnSpPr>
                <p:nvPr/>
              </p:nvCxnSpPr>
              <p:spPr>
                <a:xfrm>
                  <a:off x="4689423" y="4523727"/>
                  <a:ext cx="814148"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18958FE5-A08D-6015-226A-DAD2DB889C70}"/>
                    </a:ext>
                  </a:extLst>
                </p:cNvPr>
                <p:cNvCxnSpPr>
                  <a:cxnSpLocks/>
                </p:cNvCxnSpPr>
                <p:nvPr/>
              </p:nvCxnSpPr>
              <p:spPr>
                <a:xfrm>
                  <a:off x="4689423" y="4609522"/>
                  <a:ext cx="562761"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grpSp>
        <p:nvGrpSpPr>
          <p:cNvPr id="325" name="Group 324"/>
          <p:cNvGrpSpPr/>
          <p:nvPr/>
        </p:nvGrpSpPr>
        <p:grpSpPr>
          <a:xfrm>
            <a:off x="2858829" y="4326359"/>
            <a:ext cx="1631423" cy="1925904"/>
            <a:chOff x="2708570" y="4540282"/>
            <a:chExt cx="1631423" cy="1925904"/>
          </a:xfrm>
        </p:grpSpPr>
        <p:sp>
          <p:nvSpPr>
            <p:cNvPr id="236" name="Rectangle: Rounded Corners 52">
              <a:extLst>
                <a:ext uri="{FF2B5EF4-FFF2-40B4-BE49-F238E27FC236}">
                  <a16:creationId xmlns:a16="http://schemas.microsoft.com/office/drawing/2014/main" id="{47E3F833-9101-C596-D702-96E4ECE05301}"/>
                </a:ext>
              </a:extLst>
            </p:cNvPr>
            <p:cNvSpPr/>
            <p:nvPr/>
          </p:nvSpPr>
          <p:spPr>
            <a:xfrm>
              <a:off x="2708570" y="4540282"/>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nvGrpSpPr>
            <p:cNvPr id="237" name="Group 236">
              <a:extLst>
                <a:ext uri="{FF2B5EF4-FFF2-40B4-BE49-F238E27FC236}">
                  <a16:creationId xmlns:a16="http://schemas.microsoft.com/office/drawing/2014/main" id="{6975FD65-0387-9CB5-03FA-056B5E065B2B}"/>
                </a:ext>
              </a:extLst>
            </p:cNvPr>
            <p:cNvGrpSpPr/>
            <p:nvPr/>
          </p:nvGrpSpPr>
          <p:grpSpPr>
            <a:xfrm>
              <a:off x="3157481" y="4907626"/>
              <a:ext cx="1006312" cy="819127"/>
              <a:chOff x="1925119" y="5284381"/>
              <a:chExt cx="929161" cy="756327"/>
            </a:xfrm>
          </p:grpSpPr>
          <p:sp>
            <p:nvSpPr>
              <p:cNvPr id="238" name="Rectangle: Rounded Corners 375">
                <a:extLst>
                  <a:ext uri="{FF2B5EF4-FFF2-40B4-BE49-F238E27FC236}">
                    <a16:creationId xmlns:a16="http://schemas.microsoft.com/office/drawing/2014/main" id="{4EACC514-26DF-A0E4-A0F3-5E236938B4B6}"/>
                  </a:ext>
                </a:extLst>
              </p:cNvPr>
              <p:cNvSpPr/>
              <p:nvPr/>
            </p:nvSpPr>
            <p:spPr>
              <a:xfrm>
                <a:off x="1925119" y="5284381"/>
                <a:ext cx="590251" cy="756327"/>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239" name="Rectangle: Rounded Corners 376">
                <a:extLst>
                  <a:ext uri="{FF2B5EF4-FFF2-40B4-BE49-F238E27FC236}">
                    <a16:creationId xmlns:a16="http://schemas.microsoft.com/office/drawing/2014/main" id="{67FF453E-9FF9-3729-92C5-25F524C4AC5E}"/>
                  </a:ext>
                </a:extLst>
              </p:cNvPr>
              <p:cNvSpPr/>
              <p:nvPr/>
            </p:nvSpPr>
            <p:spPr>
              <a:xfrm>
                <a:off x="1956897" y="5323446"/>
                <a:ext cx="527989" cy="677463"/>
              </a:xfrm>
              <a:prstGeom prst="round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nvGrpSpPr>
              <p:cNvPr id="240" name="Group 239">
                <a:extLst>
                  <a:ext uri="{FF2B5EF4-FFF2-40B4-BE49-F238E27FC236}">
                    <a16:creationId xmlns:a16="http://schemas.microsoft.com/office/drawing/2014/main" id="{B167FDD8-AF07-2CE2-53E8-5A8C72FAAD45}"/>
                  </a:ext>
                </a:extLst>
              </p:cNvPr>
              <p:cNvGrpSpPr/>
              <p:nvPr/>
            </p:nvGrpSpPr>
            <p:grpSpPr>
              <a:xfrm>
                <a:off x="2053986" y="5427759"/>
                <a:ext cx="326927" cy="43472"/>
                <a:chOff x="9580983" y="2381594"/>
                <a:chExt cx="756086" cy="100539"/>
              </a:xfrm>
            </p:grpSpPr>
            <p:cxnSp>
              <p:nvCxnSpPr>
                <p:cNvPr id="262" name="Straight Connector 261">
                  <a:extLst>
                    <a:ext uri="{FF2B5EF4-FFF2-40B4-BE49-F238E27FC236}">
                      <a16:creationId xmlns:a16="http://schemas.microsoft.com/office/drawing/2014/main" id="{A1A11F86-BA1B-8279-24CE-B10774B9BD8E}"/>
                    </a:ext>
                  </a:extLst>
                </p:cNvPr>
                <p:cNvCxnSpPr>
                  <a:cxnSpLocks/>
                </p:cNvCxnSpPr>
                <p:nvPr/>
              </p:nvCxnSpPr>
              <p:spPr>
                <a:xfrm>
                  <a:off x="9580983" y="2381594"/>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69CB97CE-A63D-6A62-1D5C-A0AFAAAAFC11}"/>
                    </a:ext>
                  </a:extLst>
                </p:cNvPr>
                <p:cNvCxnSpPr>
                  <a:cxnSpLocks/>
                </p:cNvCxnSpPr>
                <p:nvPr/>
              </p:nvCxnSpPr>
              <p:spPr>
                <a:xfrm>
                  <a:off x="9580983" y="2482133"/>
                  <a:ext cx="582202"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1" name="Group 240">
                <a:extLst>
                  <a:ext uri="{FF2B5EF4-FFF2-40B4-BE49-F238E27FC236}">
                    <a16:creationId xmlns:a16="http://schemas.microsoft.com/office/drawing/2014/main" id="{596F82B7-D068-5780-E25D-2F22F24B759E}"/>
                  </a:ext>
                </a:extLst>
              </p:cNvPr>
              <p:cNvGrpSpPr/>
              <p:nvPr/>
            </p:nvGrpSpPr>
            <p:grpSpPr>
              <a:xfrm>
                <a:off x="2053986" y="5569556"/>
                <a:ext cx="326927" cy="43472"/>
                <a:chOff x="9580983" y="2381594"/>
                <a:chExt cx="756086" cy="100539"/>
              </a:xfrm>
            </p:grpSpPr>
            <p:cxnSp>
              <p:nvCxnSpPr>
                <p:cNvPr id="260" name="Straight Connector 259">
                  <a:extLst>
                    <a:ext uri="{FF2B5EF4-FFF2-40B4-BE49-F238E27FC236}">
                      <a16:creationId xmlns:a16="http://schemas.microsoft.com/office/drawing/2014/main" id="{32CBD68F-6BBF-3476-2CED-B8B934C659F0}"/>
                    </a:ext>
                  </a:extLst>
                </p:cNvPr>
                <p:cNvCxnSpPr>
                  <a:cxnSpLocks/>
                </p:cNvCxnSpPr>
                <p:nvPr/>
              </p:nvCxnSpPr>
              <p:spPr>
                <a:xfrm>
                  <a:off x="9580983" y="2381594"/>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15AA7508-4ABA-C329-CD35-25F402BA43C6}"/>
                    </a:ext>
                  </a:extLst>
                </p:cNvPr>
                <p:cNvCxnSpPr>
                  <a:cxnSpLocks/>
                </p:cNvCxnSpPr>
                <p:nvPr/>
              </p:nvCxnSpPr>
              <p:spPr>
                <a:xfrm>
                  <a:off x="9580983" y="2482133"/>
                  <a:ext cx="582202"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2" name="Group 241">
                <a:extLst>
                  <a:ext uri="{FF2B5EF4-FFF2-40B4-BE49-F238E27FC236}">
                    <a16:creationId xmlns:a16="http://schemas.microsoft.com/office/drawing/2014/main" id="{098D07F8-E254-F52A-EA94-649BC8197506}"/>
                  </a:ext>
                </a:extLst>
              </p:cNvPr>
              <p:cNvGrpSpPr/>
              <p:nvPr/>
            </p:nvGrpSpPr>
            <p:grpSpPr>
              <a:xfrm>
                <a:off x="2053986" y="5711353"/>
                <a:ext cx="326927" cy="43472"/>
                <a:chOff x="9580983" y="2381594"/>
                <a:chExt cx="756086" cy="100539"/>
              </a:xfrm>
            </p:grpSpPr>
            <p:cxnSp>
              <p:nvCxnSpPr>
                <p:cNvPr id="258" name="Straight Connector 257">
                  <a:extLst>
                    <a:ext uri="{FF2B5EF4-FFF2-40B4-BE49-F238E27FC236}">
                      <a16:creationId xmlns:a16="http://schemas.microsoft.com/office/drawing/2014/main" id="{7024C680-E9AF-576C-CF51-0D564EEEC306}"/>
                    </a:ext>
                  </a:extLst>
                </p:cNvPr>
                <p:cNvCxnSpPr>
                  <a:cxnSpLocks/>
                </p:cNvCxnSpPr>
                <p:nvPr/>
              </p:nvCxnSpPr>
              <p:spPr>
                <a:xfrm>
                  <a:off x="9580983" y="2381594"/>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5FD56D6-9C9A-2CE7-4A72-820D68DEF82F}"/>
                    </a:ext>
                  </a:extLst>
                </p:cNvPr>
                <p:cNvCxnSpPr>
                  <a:cxnSpLocks/>
                </p:cNvCxnSpPr>
                <p:nvPr/>
              </p:nvCxnSpPr>
              <p:spPr>
                <a:xfrm>
                  <a:off x="9580983" y="2482133"/>
                  <a:ext cx="582202"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CAA58E65-6C22-3851-8BD5-6176E807A27A}"/>
                  </a:ext>
                </a:extLst>
              </p:cNvPr>
              <p:cNvGrpSpPr/>
              <p:nvPr/>
            </p:nvGrpSpPr>
            <p:grpSpPr>
              <a:xfrm>
                <a:off x="2053986" y="5853149"/>
                <a:ext cx="326927" cy="43472"/>
                <a:chOff x="9580983" y="2381594"/>
                <a:chExt cx="756086" cy="100539"/>
              </a:xfrm>
            </p:grpSpPr>
            <p:cxnSp>
              <p:nvCxnSpPr>
                <p:cNvPr id="256" name="Straight Connector 255">
                  <a:extLst>
                    <a:ext uri="{FF2B5EF4-FFF2-40B4-BE49-F238E27FC236}">
                      <a16:creationId xmlns:a16="http://schemas.microsoft.com/office/drawing/2014/main" id="{DC2487E0-9045-2BB0-A773-3BCB12B595DC}"/>
                    </a:ext>
                  </a:extLst>
                </p:cNvPr>
                <p:cNvCxnSpPr>
                  <a:cxnSpLocks/>
                </p:cNvCxnSpPr>
                <p:nvPr/>
              </p:nvCxnSpPr>
              <p:spPr>
                <a:xfrm>
                  <a:off x="9580983" y="2381594"/>
                  <a:ext cx="756086"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ED9FD015-878D-1E58-376F-748CAE98D567}"/>
                    </a:ext>
                  </a:extLst>
                </p:cNvPr>
                <p:cNvCxnSpPr>
                  <a:cxnSpLocks/>
                </p:cNvCxnSpPr>
                <p:nvPr/>
              </p:nvCxnSpPr>
              <p:spPr>
                <a:xfrm>
                  <a:off x="9580983" y="2482133"/>
                  <a:ext cx="582202" cy="0"/>
                </a:xfrm>
                <a:prstGeom prst="line">
                  <a:avLst/>
                </a:prstGeom>
                <a:ln w="1905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4" name="Group 243">
                <a:extLst>
                  <a:ext uri="{FF2B5EF4-FFF2-40B4-BE49-F238E27FC236}">
                    <a16:creationId xmlns:a16="http://schemas.microsoft.com/office/drawing/2014/main" id="{E0B5A53E-BFC0-76AE-1AD0-3CFADB41330E}"/>
                  </a:ext>
                </a:extLst>
              </p:cNvPr>
              <p:cNvGrpSpPr/>
              <p:nvPr/>
            </p:nvGrpSpPr>
            <p:grpSpPr>
              <a:xfrm rot="19834944">
                <a:off x="2219468" y="5385905"/>
                <a:ext cx="634812" cy="444533"/>
                <a:chOff x="3200098" y="7418290"/>
                <a:chExt cx="1880946" cy="1317149"/>
              </a:xfrm>
            </p:grpSpPr>
            <p:grpSp>
              <p:nvGrpSpPr>
                <p:cNvPr id="245" name="Group 244">
                  <a:extLst>
                    <a:ext uri="{FF2B5EF4-FFF2-40B4-BE49-F238E27FC236}">
                      <a16:creationId xmlns:a16="http://schemas.microsoft.com/office/drawing/2014/main" id="{8B387735-B8D5-905E-CD23-70EB37F749A8}"/>
                    </a:ext>
                  </a:extLst>
                </p:cNvPr>
                <p:cNvGrpSpPr/>
                <p:nvPr/>
              </p:nvGrpSpPr>
              <p:grpSpPr>
                <a:xfrm>
                  <a:off x="3200098" y="7418290"/>
                  <a:ext cx="1156373" cy="1317149"/>
                  <a:chOff x="3200098" y="7418290"/>
                  <a:chExt cx="1156373" cy="1317149"/>
                </a:xfrm>
              </p:grpSpPr>
              <p:sp>
                <p:nvSpPr>
                  <p:cNvPr id="249" name="Oval 248">
                    <a:extLst>
                      <a:ext uri="{FF2B5EF4-FFF2-40B4-BE49-F238E27FC236}">
                        <a16:creationId xmlns:a16="http://schemas.microsoft.com/office/drawing/2014/main" id="{8BE50A40-0104-8912-8A29-F186AB9AE0E7}"/>
                      </a:ext>
                    </a:extLst>
                  </p:cNvPr>
                  <p:cNvSpPr/>
                  <p:nvPr/>
                </p:nvSpPr>
                <p:spPr>
                  <a:xfrm>
                    <a:off x="4057946" y="7785142"/>
                    <a:ext cx="298525" cy="298525"/>
                  </a:xfrm>
                  <a:prstGeom prst="ellipse">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50" name="Rectangle: Rounded Corners 10">
                    <a:extLst>
                      <a:ext uri="{FF2B5EF4-FFF2-40B4-BE49-F238E27FC236}">
                        <a16:creationId xmlns:a16="http://schemas.microsoft.com/office/drawing/2014/main" id="{9722CEAC-B3EE-9931-6C43-A0F4463AF67D}"/>
                      </a:ext>
                    </a:extLst>
                  </p:cNvPr>
                  <p:cNvSpPr/>
                  <p:nvPr/>
                </p:nvSpPr>
                <p:spPr>
                  <a:xfrm>
                    <a:off x="3426361" y="7443158"/>
                    <a:ext cx="780848" cy="943583"/>
                  </a:xfrm>
                  <a:custGeom>
                    <a:avLst/>
                    <a:gdLst>
                      <a:gd name="connsiteX0" fmla="*/ 0 w 1413933"/>
                      <a:gd name="connsiteY0" fmla="*/ 157267 h 943583"/>
                      <a:gd name="connsiteX1" fmla="*/ 157267 w 1413933"/>
                      <a:gd name="connsiteY1" fmla="*/ 0 h 943583"/>
                      <a:gd name="connsiteX2" fmla="*/ 1256666 w 1413933"/>
                      <a:gd name="connsiteY2" fmla="*/ 0 h 943583"/>
                      <a:gd name="connsiteX3" fmla="*/ 1413933 w 1413933"/>
                      <a:gd name="connsiteY3" fmla="*/ 157267 h 943583"/>
                      <a:gd name="connsiteX4" fmla="*/ 1413933 w 1413933"/>
                      <a:gd name="connsiteY4" fmla="*/ 786316 h 943583"/>
                      <a:gd name="connsiteX5" fmla="*/ 1256666 w 1413933"/>
                      <a:gd name="connsiteY5" fmla="*/ 943583 h 943583"/>
                      <a:gd name="connsiteX6" fmla="*/ 157267 w 1413933"/>
                      <a:gd name="connsiteY6" fmla="*/ 943583 h 943583"/>
                      <a:gd name="connsiteX7" fmla="*/ 0 w 1413933"/>
                      <a:gd name="connsiteY7" fmla="*/ 786316 h 943583"/>
                      <a:gd name="connsiteX8" fmla="*/ 0 w 1413933"/>
                      <a:gd name="connsiteY8" fmla="*/ 157267 h 943583"/>
                      <a:gd name="connsiteX0" fmla="*/ 9728 w 1423661"/>
                      <a:gd name="connsiteY0" fmla="*/ 157267 h 943583"/>
                      <a:gd name="connsiteX1" fmla="*/ 166995 w 1423661"/>
                      <a:gd name="connsiteY1" fmla="*/ 0 h 943583"/>
                      <a:gd name="connsiteX2" fmla="*/ 1266394 w 1423661"/>
                      <a:gd name="connsiteY2" fmla="*/ 0 h 943583"/>
                      <a:gd name="connsiteX3" fmla="*/ 1423661 w 1423661"/>
                      <a:gd name="connsiteY3" fmla="*/ 157267 h 943583"/>
                      <a:gd name="connsiteX4" fmla="*/ 1423661 w 1423661"/>
                      <a:gd name="connsiteY4" fmla="*/ 786316 h 943583"/>
                      <a:gd name="connsiteX5" fmla="*/ 1266394 w 1423661"/>
                      <a:gd name="connsiteY5" fmla="*/ 943583 h 943583"/>
                      <a:gd name="connsiteX6" fmla="*/ 166995 w 1423661"/>
                      <a:gd name="connsiteY6" fmla="*/ 943583 h 943583"/>
                      <a:gd name="connsiteX7" fmla="*/ 0 w 1423661"/>
                      <a:gd name="connsiteY7" fmla="*/ 533397 h 943583"/>
                      <a:gd name="connsiteX8" fmla="*/ 9728 w 1423661"/>
                      <a:gd name="connsiteY8" fmla="*/ 157267 h 943583"/>
                      <a:gd name="connsiteX0" fmla="*/ 27521 w 1441454"/>
                      <a:gd name="connsiteY0" fmla="*/ 157267 h 943583"/>
                      <a:gd name="connsiteX1" fmla="*/ 184788 w 1441454"/>
                      <a:gd name="connsiteY1" fmla="*/ 0 h 943583"/>
                      <a:gd name="connsiteX2" fmla="*/ 1284187 w 1441454"/>
                      <a:gd name="connsiteY2" fmla="*/ 0 h 943583"/>
                      <a:gd name="connsiteX3" fmla="*/ 1441454 w 1441454"/>
                      <a:gd name="connsiteY3" fmla="*/ 157267 h 943583"/>
                      <a:gd name="connsiteX4" fmla="*/ 1441454 w 1441454"/>
                      <a:gd name="connsiteY4" fmla="*/ 786316 h 943583"/>
                      <a:gd name="connsiteX5" fmla="*/ 1284187 w 1441454"/>
                      <a:gd name="connsiteY5" fmla="*/ 943583 h 943583"/>
                      <a:gd name="connsiteX6" fmla="*/ 48600 w 1441454"/>
                      <a:gd name="connsiteY6" fmla="*/ 554477 h 943583"/>
                      <a:gd name="connsiteX7" fmla="*/ 17793 w 1441454"/>
                      <a:gd name="connsiteY7" fmla="*/ 533397 h 943583"/>
                      <a:gd name="connsiteX8" fmla="*/ 27521 w 1441454"/>
                      <a:gd name="connsiteY8" fmla="*/ 157267 h 943583"/>
                      <a:gd name="connsiteX0" fmla="*/ 0 w 1443116"/>
                      <a:gd name="connsiteY0" fmla="*/ 497735 h 943583"/>
                      <a:gd name="connsiteX1" fmla="*/ 186450 w 1443116"/>
                      <a:gd name="connsiteY1" fmla="*/ 0 h 943583"/>
                      <a:gd name="connsiteX2" fmla="*/ 1285849 w 1443116"/>
                      <a:gd name="connsiteY2" fmla="*/ 0 h 943583"/>
                      <a:gd name="connsiteX3" fmla="*/ 1443116 w 1443116"/>
                      <a:gd name="connsiteY3" fmla="*/ 157267 h 943583"/>
                      <a:gd name="connsiteX4" fmla="*/ 1443116 w 1443116"/>
                      <a:gd name="connsiteY4" fmla="*/ 786316 h 943583"/>
                      <a:gd name="connsiteX5" fmla="*/ 1285849 w 1443116"/>
                      <a:gd name="connsiteY5" fmla="*/ 943583 h 943583"/>
                      <a:gd name="connsiteX6" fmla="*/ 50262 w 1443116"/>
                      <a:gd name="connsiteY6" fmla="*/ 554477 h 943583"/>
                      <a:gd name="connsiteX7" fmla="*/ 19455 w 1443116"/>
                      <a:gd name="connsiteY7" fmla="*/ 533397 h 943583"/>
                      <a:gd name="connsiteX8" fmla="*/ 0 w 1443116"/>
                      <a:gd name="connsiteY8" fmla="*/ 497735 h 943583"/>
                      <a:gd name="connsiteX0" fmla="*/ 12338 w 1455454"/>
                      <a:gd name="connsiteY0" fmla="*/ 497735 h 943583"/>
                      <a:gd name="connsiteX1" fmla="*/ 52873 w 1455454"/>
                      <a:gd name="connsiteY1" fmla="*/ 466927 h 943583"/>
                      <a:gd name="connsiteX2" fmla="*/ 1298187 w 1455454"/>
                      <a:gd name="connsiteY2" fmla="*/ 0 h 943583"/>
                      <a:gd name="connsiteX3" fmla="*/ 1455454 w 1455454"/>
                      <a:gd name="connsiteY3" fmla="*/ 157267 h 943583"/>
                      <a:gd name="connsiteX4" fmla="*/ 1455454 w 1455454"/>
                      <a:gd name="connsiteY4" fmla="*/ 786316 h 943583"/>
                      <a:gd name="connsiteX5" fmla="*/ 1298187 w 1455454"/>
                      <a:gd name="connsiteY5" fmla="*/ 943583 h 943583"/>
                      <a:gd name="connsiteX6" fmla="*/ 62600 w 1455454"/>
                      <a:gd name="connsiteY6" fmla="*/ 554477 h 943583"/>
                      <a:gd name="connsiteX7" fmla="*/ 31793 w 1455454"/>
                      <a:gd name="connsiteY7" fmla="*/ 533397 h 943583"/>
                      <a:gd name="connsiteX8" fmla="*/ 12338 w 1455454"/>
                      <a:gd name="connsiteY8" fmla="*/ 497735 h 943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5454" h="943583">
                        <a:moveTo>
                          <a:pt x="12338" y="497735"/>
                        </a:moveTo>
                        <a:cubicBezTo>
                          <a:pt x="12338" y="410879"/>
                          <a:pt x="-33983" y="466927"/>
                          <a:pt x="52873" y="466927"/>
                        </a:cubicBezTo>
                        <a:lnTo>
                          <a:pt x="1298187" y="0"/>
                        </a:lnTo>
                        <a:cubicBezTo>
                          <a:pt x="1385043" y="0"/>
                          <a:pt x="1455454" y="70411"/>
                          <a:pt x="1455454" y="157267"/>
                        </a:cubicBezTo>
                        <a:lnTo>
                          <a:pt x="1455454" y="786316"/>
                        </a:lnTo>
                        <a:cubicBezTo>
                          <a:pt x="1455454" y="873172"/>
                          <a:pt x="1385043" y="943583"/>
                          <a:pt x="1298187" y="943583"/>
                        </a:cubicBezTo>
                        <a:lnTo>
                          <a:pt x="62600" y="554477"/>
                        </a:lnTo>
                        <a:cubicBezTo>
                          <a:pt x="-24256" y="554477"/>
                          <a:pt x="31793" y="620253"/>
                          <a:pt x="31793" y="533397"/>
                        </a:cubicBezTo>
                        <a:cubicBezTo>
                          <a:pt x="31793" y="323714"/>
                          <a:pt x="12338" y="707418"/>
                          <a:pt x="12338" y="497735"/>
                        </a:cubicBezTo>
                        <a:close/>
                      </a:path>
                    </a:pathLst>
                  </a:cu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51" name="Rectangle: Rounded Corners 388">
                    <a:extLst>
                      <a:ext uri="{FF2B5EF4-FFF2-40B4-BE49-F238E27FC236}">
                        <a16:creationId xmlns:a16="http://schemas.microsoft.com/office/drawing/2014/main" id="{B8F76C16-8D3C-7B97-B726-CDA3F5080E67}"/>
                      </a:ext>
                    </a:extLst>
                  </p:cNvPr>
                  <p:cNvSpPr/>
                  <p:nvPr/>
                </p:nvSpPr>
                <p:spPr>
                  <a:xfrm flipH="1">
                    <a:off x="4072839" y="7418290"/>
                    <a:ext cx="135410" cy="1007363"/>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sp>
                <p:nvSpPr>
                  <p:cNvPr id="252" name="Rectangle: Rounded Corners 389">
                    <a:extLst>
                      <a:ext uri="{FF2B5EF4-FFF2-40B4-BE49-F238E27FC236}">
                        <a16:creationId xmlns:a16="http://schemas.microsoft.com/office/drawing/2014/main" id="{49F661E7-8A7A-DAEF-C5C9-5E27719D248A}"/>
                      </a:ext>
                    </a:extLst>
                  </p:cNvPr>
                  <p:cNvSpPr/>
                  <p:nvPr/>
                </p:nvSpPr>
                <p:spPr>
                  <a:xfrm>
                    <a:off x="3325144" y="7931283"/>
                    <a:ext cx="171419" cy="804156"/>
                  </a:xfrm>
                  <a:prstGeom prst="round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53" name="Rectangle: Rounded Corners 390">
                    <a:extLst>
                      <a:ext uri="{FF2B5EF4-FFF2-40B4-BE49-F238E27FC236}">
                        <a16:creationId xmlns:a16="http://schemas.microsoft.com/office/drawing/2014/main" id="{5973F6C3-8B5C-121A-429E-4F2D512A4284}"/>
                      </a:ext>
                    </a:extLst>
                  </p:cNvPr>
                  <p:cNvSpPr/>
                  <p:nvPr/>
                </p:nvSpPr>
                <p:spPr>
                  <a:xfrm>
                    <a:off x="3477544" y="8083683"/>
                    <a:ext cx="171419" cy="303058"/>
                  </a:xfrm>
                  <a:prstGeom prst="roundRect">
                    <a:avLst/>
                  </a:prstGeom>
                  <a:no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54" name="Rectangle: Rounded Corners 391">
                    <a:extLst>
                      <a:ext uri="{FF2B5EF4-FFF2-40B4-BE49-F238E27FC236}">
                        <a16:creationId xmlns:a16="http://schemas.microsoft.com/office/drawing/2014/main" id="{056083CE-4862-D9CC-8566-2914DFE72EFC}"/>
                      </a:ext>
                    </a:extLst>
                  </p:cNvPr>
                  <p:cNvSpPr/>
                  <p:nvPr/>
                </p:nvSpPr>
                <p:spPr>
                  <a:xfrm>
                    <a:off x="3226859" y="7675754"/>
                    <a:ext cx="467392" cy="536760"/>
                  </a:xfrm>
                  <a:prstGeom prst="roundRect">
                    <a:avLst/>
                  </a:prstGeom>
                  <a:solidFill>
                    <a:schemeClr val="accent5">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55" name="Rectangle: Rounded Corners 392">
                    <a:extLst>
                      <a:ext uri="{FF2B5EF4-FFF2-40B4-BE49-F238E27FC236}">
                        <a16:creationId xmlns:a16="http://schemas.microsoft.com/office/drawing/2014/main" id="{803F5F5B-7BE9-FE8A-920D-DB418C597C1E}"/>
                      </a:ext>
                    </a:extLst>
                  </p:cNvPr>
                  <p:cNvSpPr/>
                  <p:nvPr/>
                </p:nvSpPr>
                <p:spPr>
                  <a:xfrm flipH="1">
                    <a:off x="3200098" y="7650466"/>
                    <a:ext cx="140960" cy="561633"/>
                  </a:xfrm>
                  <a:prstGeom prst="round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868">
                      <a:solidFill>
                        <a:schemeClr val="tx1"/>
                      </a:solidFill>
                    </a:endParaRPr>
                  </a:p>
                </p:txBody>
              </p:sp>
            </p:grpSp>
            <p:cxnSp>
              <p:nvCxnSpPr>
                <p:cNvPr id="246" name="Straight Connector 245">
                  <a:extLst>
                    <a:ext uri="{FF2B5EF4-FFF2-40B4-BE49-F238E27FC236}">
                      <a16:creationId xmlns:a16="http://schemas.microsoft.com/office/drawing/2014/main" id="{1BB5B320-F6DA-1973-BEF7-029972FE59E1}"/>
                    </a:ext>
                  </a:extLst>
                </p:cNvPr>
                <p:cNvCxnSpPr>
                  <a:cxnSpLocks/>
                </p:cNvCxnSpPr>
                <p:nvPr/>
              </p:nvCxnSpPr>
              <p:spPr>
                <a:xfrm flipV="1">
                  <a:off x="4433740" y="7418290"/>
                  <a:ext cx="507877" cy="306313"/>
                </a:xfrm>
                <a:prstGeom prst="line">
                  <a:avLst/>
                </a:prstGeom>
                <a:ln w="38100">
                  <a:solidFill>
                    <a:srgbClr val="FDB91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F59612F9-0DDB-4EEB-A4A9-D0D9D10FBAB1}"/>
                    </a:ext>
                  </a:extLst>
                </p:cNvPr>
                <p:cNvCxnSpPr>
                  <a:cxnSpLocks/>
                </p:cNvCxnSpPr>
                <p:nvPr/>
              </p:nvCxnSpPr>
              <p:spPr>
                <a:xfrm>
                  <a:off x="4479549" y="7921971"/>
                  <a:ext cx="601495" cy="0"/>
                </a:xfrm>
                <a:prstGeom prst="line">
                  <a:avLst/>
                </a:prstGeom>
                <a:ln w="38100">
                  <a:solidFill>
                    <a:srgbClr val="FDB91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ED854D08-4AB9-C9D3-49FA-45E6C695C988}"/>
                    </a:ext>
                  </a:extLst>
                </p:cNvPr>
                <p:cNvCxnSpPr>
                  <a:cxnSpLocks/>
                </p:cNvCxnSpPr>
                <p:nvPr/>
              </p:nvCxnSpPr>
              <p:spPr>
                <a:xfrm>
                  <a:off x="4456519" y="8129277"/>
                  <a:ext cx="485098" cy="257464"/>
                </a:xfrm>
                <a:prstGeom prst="line">
                  <a:avLst/>
                </a:prstGeom>
                <a:ln w="38100">
                  <a:solidFill>
                    <a:srgbClr val="FDB91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264" name="TextBox 263">
              <a:extLst>
                <a:ext uri="{FF2B5EF4-FFF2-40B4-BE49-F238E27FC236}">
                  <a16:creationId xmlns:a16="http://schemas.microsoft.com/office/drawing/2014/main" id="{6E2E0488-B5A6-23AA-8C8C-078653213B55}"/>
                </a:ext>
              </a:extLst>
            </p:cNvPr>
            <p:cNvSpPr txBox="1"/>
            <p:nvPr/>
          </p:nvSpPr>
          <p:spPr>
            <a:xfrm>
              <a:off x="2734466" y="5825583"/>
              <a:ext cx="1605527" cy="430887"/>
            </a:xfrm>
            <a:prstGeom prst="rect">
              <a:avLst/>
            </a:prstGeom>
            <a:noFill/>
          </p:spPr>
          <p:txBody>
            <a:bodyPr wrap="square">
              <a:spAutoFit/>
            </a:bodyPr>
            <a:lstStyle/>
            <a:p>
              <a:pPr marR="0" lvl="0" algn="ctr">
                <a:spcBef>
                  <a:spcPts val="0"/>
                </a:spcBef>
                <a:spcAft>
                  <a:spcPts val="0"/>
                </a:spcAft>
              </a:pPr>
              <a:r>
                <a:rPr lang="en-US" sz="1100" kern="1100">
                  <a:effectLst/>
                  <a:ea typeface="Times New Roman" panose="02020603050405020304" pitchFamily="18" charset="0"/>
                </a:rPr>
                <a:t>Auction outcomes are published publicly</a:t>
              </a:r>
            </a:p>
          </p:txBody>
        </p:sp>
        <p:sp>
          <p:nvSpPr>
            <p:cNvPr id="265" name="Titel 1">
              <a:extLst>
                <a:ext uri="{FF2B5EF4-FFF2-40B4-BE49-F238E27FC236}">
                  <a16:creationId xmlns:a16="http://schemas.microsoft.com/office/drawing/2014/main" id="{279E3CC8-4460-C90B-4F18-6B6E3B53F366}"/>
                </a:ext>
              </a:extLst>
            </p:cNvPr>
            <p:cNvSpPr txBox="1">
              <a:spLocks/>
            </p:cNvSpPr>
            <p:nvPr/>
          </p:nvSpPr>
          <p:spPr>
            <a:xfrm>
              <a:off x="2731863" y="4571998"/>
              <a:ext cx="438912"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7</a:t>
              </a:r>
            </a:p>
          </p:txBody>
        </p:sp>
      </p:grpSp>
      <p:grpSp>
        <p:nvGrpSpPr>
          <p:cNvPr id="327" name="Group 326"/>
          <p:cNvGrpSpPr/>
          <p:nvPr/>
        </p:nvGrpSpPr>
        <p:grpSpPr>
          <a:xfrm>
            <a:off x="6540240" y="4326359"/>
            <a:ext cx="1647015" cy="1925904"/>
            <a:chOff x="6319920" y="4511600"/>
            <a:chExt cx="1647015" cy="1925904"/>
          </a:xfrm>
        </p:grpSpPr>
        <p:sp>
          <p:nvSpPr>
            <p:cNvPr id="23" name="Rectangle: Rounded Corners 24">
              <a:extLst>
                <a:ext uri="{FF2B5EF4-FFF2-40B4-BE49-F238E27FC236}">
                  <a16:creationId xmlns:a16="http://schemas.microsoft.com/office/drawing/2014/main" id="{3B2534B3-BCDA-FCBC-A563-22E6B680210A}"/>
                </a:ext>
              </a:extLst>
            </p:cNvPr>
            <p:cNvSpPr/>
            <p:nvPr/>
          </p:nvSpPr>
          <p:spPr>
            <a:xfrm>
              <a:off x="6360580" y="4511600"/>
              <a:ext cx="1606355" cy="1925904"/>
            </a:xfrm>
            <a:prstGeom prst="round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66" name="Titel 1">
              <a:extLst>
                <a:ext uri="{FF2B5EF4-FFF2-40B4-BE49-F238E27FC236}">
                  <a16:creationId xmlns:a16="http://schemas.microsoft.com/office/drawing/2014/main" id="{6FB273C3-1914-9294-D508-FB1E75E407B2}"/>
                </a:ext>
              </a:extLst>
            </p:cNvPr>
            <p:cNvSpPr txBox="1">
              <a:spLocks/>
            </p:cNvSpPr>
            <p:nvPr/>
          </p:nvSpPr>
          <p:spPr>
            <a:xfrm>
              <a:off x="6319920" y="4557017"/>
              <a:ext cx="542214" cy="430879"/>
            </a:xfrm>
            <a:prstGeom prst="rect">
              <a:avLst/>
            </a:prstGeom>
          </p:spPr>
          <p:txBody>
            <a:bodyPr/>
            <a:lstStyle>
              <a:lvl1pPr algn="l" defTabSz="567019" rtl="0" eaLnBrk="1" latinLnBrk="0" hangingPunct="1">
                <a:lnSpc>
                  <a:spcPct val="110000"/>
                </a:lnSpc>
                <a:spcBef>
                  <a:spcPct val="0"/>
                </a:spcBef>
                <a:buNone/>
                <a:defRPr sz="1488" b="0" kern="1200">
                  <a:solidFill>
                    <a:schemeClr val="accent2"/>
                  </a:solidFill>
                  <a:latin typeface="Arial" panose="020B0604020202020204" pitchFamily="34" charset="0"/>
                  <a:ea typeface="+mj-ea"/>
                  <a:cs typeface="Arial" panose="020B0604020202020204" pitchFamily="34" charset="0"/>
                </a:defRPr>
              </a:lvl1pPr>
            </a:lstStyle>
            <a:p>
              <a:pPr algn="ctr"/>
              <a:r>
                <a:rPr lang="en-GB" sz="1800">
                  <a:latin typeface="+mj-lt"/>
                </a:rPr>
                <a:t>9</a:t>
              </a:r>
            </a:p>
          </p:txBody>
        </p:sp>
        <p:sp>
          <p:nvSpPr>
            <p:cNvPr id="267" name="TextBox 266">
              <a:extLst>
                <a:ext uri="{FF2B5EF4-FFF2-40B4-BE49-F238E27FC236}">
                  <a16:creationId xmlns:a16="http://schemas.microsoft.com/office/drawing/2014/main" id="{4C9B32B5-B4C8-4CE9-CFAE-230976D28670}"/>
                </a:ext>
              </a:extLst>
            </p:cNvPr>
            <p:cNvSpPr txBox="1"/>
            <p:nvPr/>
          </p:nvSpPr>
          <p:spPr>
            <a:xfrm>
              <a:off x="6348673" y="5804364"/>
              <a:ext cx="1605527" cy="430887"/>
            </a:xfrm>
            <a:prstGeom prst="rect">
              <a:avLst/>
            </a:prstGeom>
            <a:noFill/>
          </p:spPr>
          <p:txBody>
            <a:bodyPr wrap="square">
              <a:spAutoFit/>
            </a:bodyPr>
            <a:lstStyle/>
            <a:p>
              <a:pPr marR="0" lvl="0" algn="ctr">
                <a:spcBef>
                  <a:spcPts val="0"/>
                </a:spcBef>
                <a:spcAft>
                  <a:spcPts val="0"/>
                </a:spcAft>
              </a:pPr>
              <a:r>
                <a:rPr lang="en-US" sz="1100" kern="1100">
                  <a:effectLst/>
                  <a:ea typeface="Times New Roman" panose="02020603050405020304" pitchFamily="18" charset="0"/>
                </a:rPr>
                <a:t>Project realization and construction</a:t>
              </a:r>
            </a:p>
          </p:txBody>
        </p:sp>
        <p:grpSp>
          <p:nvGrpSpPr>
            <p:cNvPr id="268" name="Group 267">
              <a:extLst>
                <a:ext uri="{FF2B5EF4-FFF2-40B4-BE49-F238E27FC236}">
                  <a16:creationId xmlns:a16="http://schemas.microsoft.com/office/drawing/2014/main" id="{4F7EA297-2E39-91C8-9F73-73E90A8F703B}"/>
                </a:ext>
              </a:extLst>
            </p:cNvPr>
            <p:cNvGrpSpPr/>
            <p:nvPr/>
          </p:nvGrpSpPr>
          <p:grpSpPr>
            <a:xfrm>
              <a:off x="6591351" y="5089505"/>
              <a:ext cx="446565" cy="656418"/>
              <a:chOff x="8550610" y="1095259"/>
              <a:chExt cx="1209722" cy="1778203"/>
            </a:xfrm>
          </p:grpSpPr>
          <p:sp>
            <p:nvSpPr>
              <p:cNvPr id="269" name="Rectangle: Rounded Corners 59">
                <a:extLst>
                  <a:ext uri="{FF2B5EF4-FFF2-40B4-BE49-F238E27FC236}">
                    <a16:creationId xmlns:a16="http://schemas.microsoft.com/office/drawing/2014/main" id="{8E16A367-9535-91B2-6972-37557518DD78}"/>
                  </a:ext>
                </a:extLst>
              </p:cNvPr>
              <p:cNvSpPr/>
              <p:nvPr/>
            </p:nvSpPr>
            <p:spPr>
              <a:xfrm>
                <a:off x="8879321" y="1318575"/>
                <a:ext cx="539035" cy="629944"/>
              </a:xfrm>
              <a:prstGeom prst="roundRect">
                <a:avLst/>
              </a:prstGeom>
              <a:no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grpSp>
            <p:nvGrpSpPr>
              <p:cNvPr id="270" name="Group 269">
                <a:extLst>
                  <a:ext uri="{FF2B5EF4-FFF2-40B4-BE49-F238E27FC236}">
                    <a16:creationId xmlns:a16="http://schemas.microsoft.com/office/drawing/2014/main" id="{D30F11D4-B52D-6606-0D19-EE74C8DE3CA0}"/>
                  </a:ext>
                </a:extLst>
              </p:cNvPr>
              <p:cNvGrpSpPr/>
              <p:nvPr/>
            </p:nvGrpSpPr>
            <p:grpSpPr>
              <a:xfrm>
                <a:off x="8550610" y="1737359"/>
                <a:ext cx="1209722" cy="1136103"/>
                <a:chOff x="8550610" y="1079344"/>
                <a:chExt cx="1209722" cy="1649738"/>
              </a:xfrm>
            </p:grpSpPr>
            <p:sp>
              <p:nvSpPr>
                <p:cNvPr id="280" name="Rectangle: Rounded Corners 508">
                  <a:extLst>
                    <a:ext uri="{FF2B5EF4-FFF2-40B4-BE49-F238E27FC236}">
                      <a16:creationId xmlns:a16="http://schemas.microsoft.com/office/drawing/2014/main" id="{57964FF9-42B0-1379-AFCE-D72137E48A45}"/>
                    </a:ext>
                  </a:extLst>
                </p:cNvPr>
                <p:cNvSpPr/>
                <p:nvPr/>
              </p:nvSpPr>
              <p:spPr>
                <a:xfrm>
                  <a:off x="8550610" y="1079344"/>
                  <a:ext cx="1209722" cy="1497189"/>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sp>
              <p:nvSpPr>
                <p:cNvPr id="281" name="Rectangle: Rounded Corners 509">
                  <a:extLst>
                    <a:ext uri="{FF2B5EF4-FFF2-40B4-BE49-F238E27FC236}">
                      <a16:creationId xmlns:a16="http://schemas.microsoft.com/office/drawing/2014/main" id="{3A1EBC52-85C8-0F6A-0178-E334FBD02CA6}"/>
                    </a:ext>
                  </a:extLst>
                </p:cNvPr>
                <p:cNvSpPr/>
                <p:nvPr/>
              </p:nvSpPr>
              <p:spPr>
                <a:xfrm>
                  <a:off x="8550610" y="1711936"/>
                  <a:ext cx="1209722" cy="1017146"/>
                </a:xfrm>
                <a:prstGeom prst="round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sp>
              <p:nvSpPr>
                <p:cNvPr id="282" name="Rectangle 281">
                  <a:extLst>
                    <a:ext uri="{FF2B5EF4-FFF2-40B4-BE49-F238E27FC236}">
                      <a16:creationId xmlns:a16="http://schemas.microsoft.com/office/drawing/2014/main" id="{D9CC1C7A-A216-1F36-9587-A4A532D5A7CD}"/>
                    </a:ext>
                  </a:extLst>
                </p:cNvPr>
                <p:cNvSpPr/>
                <p:nvPr/>
              </p:nvSpPr>
              <p:spPr>
                <a:xfrm>
                  <a:off x="8550610" y="1594817"/>
                  <a:ext cx="1209722" cy="606233"/>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grpSp>
          <p:sp>
            <p:nvSpPr>
              <p:cNvPr id="271" name="Rectangle: Rounded Corners 61">
                <a:extLst>
                  <a:ext uri="{FF2B5EF4-FFF2-40B4-BE49-F238E27FC236}">
                    <a16:creationId xmlns:a16="http://schemas.microsoft.com/office/drawing/2014/main" id="{FC256E61-CF3D-9D0C-61E4-0D67C99D2741}"/>
                  </a:ext>
                </a:extLst>
              </p:cNvPr>
              <p:cNvSpPr/>
              <p:nvPr/>
            </p:nvSpPr>
            <p:spPr>
              <a:xfrm>
                <a:off x="8782013" y="1621981"/>
                <a:ext cx="194616" cy="937233"/>
              </a:xfrm>
              <a:prstGeom prst="roundRect">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sp>
            <p:nvSpPr>
              <p:cNvPr id="272" name="Rectangle: Rounded Corners 62">
                <a:extLst>
                  <a:ext uri="{FF2B5EF4-FFF2-40B4-BE49-F238E27FC236}">
                    <a16:creationId xmlns:a16="http://schemas.microsoft.com/office/drawing/2014/main" id="{FA4DACE4-3751-DCB6-1103-E653875C4D39}"/>
                  </a:ext>
                </a:extLst>
              </p:cNvPr>
              <p:cNvSpPr/>
              <p:nvPr/>
            </p:nvSpPr>
            <p:spPr>
              <a:xfrm>
                <a:off x="8948486" y="1184368"/>
                <a:ext cx="400703" cy="268413"/>
              </a:xfrm>
              <a:prstGeom prst="roundRect">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sp>
            <p:nvSpPr>
              <p:cNvPr id="273" name="Rectangle: Rounded Corners 501">
                <a:extLst>
                  <a:ext uri="{FF2B5EF4-FFF2-40B4-BE49-F238E27FC236}">
                    <a16:creationId xmlns:a16="http://schemas.microsoft.com/office/drawing/2014/main" id="{7D02FAE1-F973-52E4-F25D-97BBA5CDFEB1}"/>
                  </a:ext>
                </a:extLst>
              </p:cNvPr>
              <p:cNvSpPr/>
              <p:nvPr/>
            </p:nvSpPr>
            <p:spPr>
              <a:xfrm>
                <a:off x="9327165" y="1620082"/>
                <a:ext cx="194616" cy="937233"/>
              </a:xfrm>
              <a:prstGeom prst="roundRect">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sp>
            <p:nvSpPr>
              <p:cNvPr id="274" name="TextBox 273">
                <a:extLst>
                  <a:ext uri="{FF2B5EF4-FFF2-40B4-BE49-F238E27FC236}">
                    <a16:creationId xmlns:a16="http://schemas.microsoft.com/office/drawing/2014/main" id="{7528A9C1-71A8-ED41-EF98-6C578B8EE902}"/>
                  </a:ext>
                </a:extLst>
              </p:cNvPr>
              <p:cNvSpPr txBox="1"/>
              <p:nvPr/>
            </p:nvSpPr>
            <p:spPr>
              <a:xfrm>
                <a:off x="8832167" y="1095259"/>
                <a:ext cx="628392" cy="870575"/>
              </a:xfrm>
              <a:prstGeom prst="rect">
                <a:avLst/>
              </a:prstGeom>
              <a:noFill/>
            </p:spPr>
            <p:txBody>
              <a:bodyPr wrap="square">
                <a:spAutoFit/>
              </a:bodyPr>
              <a:lstStyle/>
              <a:p>
                <a:pPr algn="ctr"/>
                <a:r>
                  <a:rPr lang="en-GB" sz="744" b="1">
                    <a:solidFill>
                      <a:schemeClr val="bg1"/>
                    </a:solidFill>
                  </a:rPr>
                  <a:t>+ -</a:t>
                </a:r>
                <a:endParaRPr lang="en-US" sz="1116" b="1">
                  <a:solidFill>
                    <a:schemeClr val="bg1"/>
                  </a:solidFill>
                </a:endParaRPr>
              </a:p>
            </p:txBody>
          </p:sp>
          <p:sp>
            <p:nvSpPr>
              <p:cNvPr id="275" name="Oval 274">
                <a:extLst>
                  <a:ext uri="{FF2B5EF4-FFF2-40B4-BE49-F238E27FC236}">
                    <a16:creationId xmlns:a16="http://schemas.microsoft.com/office/drawing/2014/main" id="{2B9CF50F-6816-7AF9-C057-2FCCD55A1A05}"/>
                  </a:ext>
                </a:extLst>
              </p:cNvPr>
              <p:cNvSpPr/>
              <p:nvPr/>
            </p:nvSpPr>
            <p:spPr>
              <a:xfrm>
                <a:off x="8816459" y="2620184"/>
                <a:ext cx="82854" cy="8285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sp>
            <p:nvSpPr>
              <p:cNvPr id="276" name="Oval 275">
                <a:extLst>
                  <a:ext uri="{FF2B5EF4-FFF2-40B4-BE49-F238E27FC236}">
                    <a16:creationId xmlns:a16="http://schemas.microsoft.com/office/drawing/2014/main" id="{7A993EA2-6017-45D0-098A-0974E1D4802E}"/>
                  </a:ext>
                </a:extLst>
              </p:cNvPr>
              <p:cNvSpPr/>
              <p:nvPr/>
            </p:nvSpPr>
            <p:spPr>
              <a:xfrm>
                <a:off x="8953769" y="2704567"/>
                <a:ext cx="45719" cy="4571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sp>
            <p:nvSpPr>
              <p:cNvPr id="277" name="Oval 276">
                <a:extLst>
                  <a:ext uri="{FF2B5EF4-FFF2-40B4-BE49-F238E27FC236}">
                    <a16:creationId xmlns:a16="http://schemas.microsoft.com/office/drawing/2014/main" id="{747CE662-92F3-F4B4-46C6-FBC404AC91AE}"/>
                  </a:ext>
                </a:extLst>
              </p:cNvPr>
              <p:cNvSpPr/>
              <p:nvPr/>
            </p:nvSpPr>
            <p:spPr>
              <a:xfrm>
                <a:off x="9630264" y="2389684"/>
                <a:ext cx="82854" cy="8285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sp>
            <p:nvSpPr>
              <p:cNvPr id="278" name="Oval 277">
                <a:extLst>
                  <a:ext uri="{FF2B5EF4-FFF2-40B4-BE49-F238E27FC236}">
                    <a16:creationId xmlns:a16="http://schemas.microsoft.com/office/drawing/2014/main" id="{C6ED6890-2CBC-B936-5F53-1D52F4A99AEB}"/>
                  </a:ext>
                </a:extLst>
              </p:cNvPr>
              <p:cNvSpPr/>
              <p:nvPr/>
            </p:nvSpPr>
            <p:spPr>
              <a:xfrm>
                <a:off x="9570196" y="2502119"/>
                <a:ext cx="45719" cy="4571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sp>
            <p:nvSpPr>
              <p:cNvPr id="279" name="Oval 278">
                <a:extLst>
                  <a:ext uri="{FF2B5EF4-FFF2-40B4-BE49-F238E27FC236}">
                    <a16:creationId xmlns:a16="http://schemas.microsoft.com/office/drawing/2014/main" id="{DDE3BF0A-52EF-A0C9-7786-65C36B95169D}"/>
                  </a:ext>
                </a:extLst>
              </p:cNvPr>
              <p:cNvSpPr/>
              <p:nvPr/>
            </p:nvSpPr>
            <p:spPr>
              <a:xfrm>
                <a:off x="8730855" y="2740959"/>
                <a:ext cx="45719" cy="4571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682">
                  <a:solidFill>
                    <a:schemeClr val="tx1"/>
                  </a:solidFill>
                </a:endParaRPr>
              </a:p>
            </p:txBody>
          </p:sp>
        </p:grpSp>
        <p:grpSp>
          <p:nvGrpSpPr>
            <p:cNvPr id="283" name="Group 282">
              <a:extLst>
                <a:ext uri="{FF2B5EF4-FFF2-40B4-BE49-F238E27FC236}">
                  <a16:creationId xmlns:a16="http://schemas.microsoft.com/office/drawing/2014/main" id="{858D8BED-8C4C-3438-4CAC-912C90D42392}"/>
                </a:ext>
              </a:extLst>
            </p:cNvPr>
            <p:cNvGrpSpPr/>
            <p:nvPr/>
          </p:nvGrpSpPr>
          <p:grpSpPr>
            <a:xfrm>
              <a:off x="7099625" y="4889826"/>
              <a:ext cx="678739" cy="762600"/>
              <a:chOff x="1856530" y="1737372"/>
              <a:chExt cx="1576879" cy="1771707"/>
            </a:xfrm>
          </p:grpSpPr>
          <p:grpSp>
            <p:nvGrpSpPr>
              <p:cNvPr id="284" name="Group 283">
                <a:extLst>
                  <a:ext uri="{FF2B5EF4-FFF2-40B4-BE49-F238E27FC236}">
                    <a16:creationId xmlns:a16="http://schemas.microsoft.com/office/drawing/2014/main" id="{DEEBF5E9-D221-D97A-88F3-269B7F0667ED}"/>
                  </a:ext>
                </a:extLst>
              </p:cNvPr>
              <p:cNvGrpSpPr/>
              <p:nvPr/>
            </p:nvGrpSpPr>
            <p:grpSpPr>
              <a:xfrm>
                <a:off x="1856530" y="1737372"/>
                <a:ext cx="757718" cy="1565984"/>
                <a:chOff x="1309947" y="1271344"/>
                <a:chExt cx="757718" cy="1565984"/>
              </a:xfrm>
            </p:grpSpPr>
            <p:sp>
              <p:nvSpPr>
                <p:cNvPr id="301" name="Rectangle: Rounded Corners 136">
                  <a:extLst>
                    <a:ext uri="{FF2B5EF4-FFF2-40B4-BE49-F238E27FC236}">
                      <a16:creationId xmlns:a16="http://schemas.microsoft.com/office/drawing/2014/main" id="{F5094B5A-0124-72D1-567E-A943BD54E3CB}"/>
                    </a:ext>
                  </a:extLst>
                </p:cNvPr>
                <p:cNvSpPr/>
                <p:nvPr/>
              </p:nvSpPr>
              <p:spPr>
                <a:xfrm>
                  <a:off x="1439720" y="1432119"/>
                  <a:ext cx="436728" cy="191698"/>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302" name="Rectangle: Rounded Corners 137">
                  <a:extLst>
                    <a:ext uri="{FF2B5EF4-FFF2-40B4-BE49-F238E27FC236}">
                      <a16:creationId xmlns:a16="http://schemas.microsoft.com/office/drawing/2014/main" id="{F0E4C688-5F81-4969-BB6D-55F244C93B38}"/>
                    </a:ext>
                  </a:extLst>
                </p:cNvPr>
                <p:cNvSpPr/>
                <p:nvPr/>
              </p:nvSpPr>
              <p:spPr>
                <a:xfrm>
                  <a:off x="1596641" y="1343826"/>
                  <a:ext cx="122887" cy="232012"/>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303" name="Rectangle: Rounded Corners 138">
                  <a:extLst>
                    <a:ext uri="{FF2B5EF4-FFF2-40B4-BE49-F238E27FC236}">
                      <a16:creationId xmlns:a16="http://schemas.microsoft.com/office/drawing/2014/main" id="{6F7D153D-C73C-A785-D7EB-AE41DDFCFCC1}"/>
                    </a:ext>
                  </a:extLst>
                </p:cNvPr>
                <p:cNvSpPr/>
                <p:nvPr/>
              </p:nvSpPr>
              <p:spPr>
                <a:xfrm>
                  <a:off x="1507839" y="1271344"/>
                  <a:ext cx="300490" cy="100620"/>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304" name="Rectangle: Rounded Corners 139">
                  <a:extLst>
                    <a:ext uri="{FF2B5EF4-FFF2-40B4-BE49-F238E27FC236}">
                      <a16:creationId xmlns:a16="http://schemas.microsoft.com/office/drawing/2014/main" id="{430ADA99-A14A-C2D9-2649-D7B6DD9E791E}"/>
                    </a:ext>
                  </a:extLst>
                </p:cNvPr>
                <p:cNvSpPr/>
                <p:nvPr/>
              </p:nvSpPr>
              <p:spPr>
                <a:xfrm>
                  <a:off x="1309947" y="1555845"/>
                  <a:ext cx="696274" cy="1281483"/>
                </a:xfrm>
                <a:prstGeom prst="round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305" name="Oval 304">
                  <a:extLst>
                    <a:ext uri="{FF2B5EF4-FFF2-40B4-BE49-F238E27FC236}">
                      <a16:creationId xmlns:a16="http://schemas.microsoft.com/office/drawing/2014/main" id="{18A782D2-5568-CD61-FEF1-36D0D016F041}"/>
                    </a:ext>
                  </a:extLst>
                </p:cNvPr>
                <p:cNvSpPr/>
                <p:nvPr/>
              </p:nvSpPr>
              <p:spPr>
                <a:xfrm>
                  <a:off x="1374833" y="1766309"/>
                  <a:ext cx="563117" cy="563117"/>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306" name="Rectangle: Rounded Corners 141">
                  <a:extLst>
                    <a:ext uri="{FF2B5EF4-FFF2-40B4-BE49-F238E27FC236}">
                      <a16:creationId xmlns:a16="http://schemas.microsoft.com/office/drawing/2014/main" id="{F680F71D-4F36-9F49-3866-2F818BD1D711}"/>
                    </a:ext>
                  </a:extLst>
                </p:cNvPr>
                <p:cNvSpPr/>
                <p:nvPr/>
              </p:nvSpPr>
              <p:spPr>
                <a:xfrm>
                  <a:off x="1719528" y="2097741"/>
                  <a:ext cx="218422" cy="355411"/>
                </a:xfrm>
                <a:prstGeom prst="round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307" name="TextBox 306">
                  <a:extLst>
                    <a:ext uri="{FF2B5EF4-FFF2-40B4-BE49-F238E27FC236}">
                      <a16:creationId xmlns:a16="http://schemas.microsoft.com/office/drawing/2014/main" id="{C91B3617-70EC-B93D-003F-2D7ED90ECABC}"/>
                    </a:ext>
                  </a:extLst>
                </p:cNvPr>
                <p:cNvSpPr txBox="1"/>
                <p:nvPr/>
              </p:nvSpPr>
              <p:spPr>
                <a:xfrm>
                  <a:off x="1371390" y="1782316"/>
                  <a:ext cx="696275" cy="879500"/>
                </a:xfrm>
                <a:prstGeom prst="rect">
                  <a:avLst/>
                </a:prstGeom>
                <a:noFill/>
              </p:spPr>
              <p:txBody>
                <a:bodyPr wrap="square">
                  <a:spAutoFit/>
                </a:bodyPr>
                <a:lstStyle/>
                <a:p>
                  <a:pPr algn="ctr"/>
                  <a:r>
                    <a:rPr lang="en-GB" sz="1116" b="1">
                      <a:solidFill>
                        <a:schemeClr val="bg1"/>
                      </a:solidFill>
                    </a:rPr>
                    <a:t>H</a:t>
                  </a:r>
                  <a:r>
                    <a:rPr lang="en-GB" sz="1116" b="1" baseline="-25000">
                      <a:solidFill>
                        <a:schemeClr val="bg1"/>
                      </a:solidFill>
                    </a:rPr>
                    <a:t>2</a:t>
                  </a:r>
                  <a:endParaRPr lang="en-US" sz="1116" b="1" baseline="-25000">
                    <a:solidFill>
                      <a:schemeClr val="bg1"/>
                    </a:solidFill>
                  </a:endParaRPr>
                </a:p>
              </p:txBody>
            </p:sp>
          </p:grpSp>
          <p:grpSp>
            <p:nvGrpSpPr>
              <p:cNvPr id="285" name="Group 284">
                <a:extLst>
                  <a:ext uri="{FF2B5EF4-FFF2-40B4-BE49-F238E27FC236}">
                    <a16:creationId xmlns:a16="http://schemas.microsoft.com/office/drawing/2014/main" id="{C3545174-F811-D36D-724A-5340850DA643}"/>
                  </a:ext>
                </a:extLst>
              </p:cNvPr>
              <p:cNvGrpSpPr/>
              <p:nvPr/>
            </p:nvGrpSpPr>
            <p:grpSpPr>
              <a:xfrm>
                <a:off x="2675691" y="1737372"/>
                <a:ext cx="757718" cy="1565984"/>
                <a:chOff x="1309947" y="1271344"/>
                <a:chExt cx="757718" cy="1565984"/>
              </a:xfrm>
            </p:grpSpPr>
            <p:sp>
              <p:nvSpPr>
                <p:cNvPr id="294" name="Rectangle: Rounded Corners 522">
                  <a:extLst>
                    <a:ext uri="{FF2B5EF4-FFF2-40B4-BE49-F238E27FC236}">
                      <a16:creationId xmlns:a16="http://schemas.microsoft.com/office/drawing/2014/main" id="{D514043D-6784-C8BA-A9CC-CAD93DE4D6EF}"/>
                    </a:ext>
                  </a:extLst>
                </p:cNvPr>
                <p:cNvSpPr/>
                <p:nvPr/>
              </p:nvSpPr>
              <p:spPr>
                <a:xfrm>
                  <a:off x="1439720" y="1432119"/>
                  <a:ext cx="436728" cy="191698"/>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95" name="Rectangle: Rounded Corners 127">
                  <a:extLst>
                    <a:ext uri="{FF2B5EF4-FFF2-40B4-BE49-F238E27FC236}">
                      <a16:creationId xmlns:a16="http://schemas.microsoft.com/office/drawing/2014/main" id="{F82289ED-DBC3-9823-C318-0BA8A3A4CA9E}"/>
                    </a:ext>
                  </a:extLst>
                </p:cNvPr>
                <p:cNvSpPr/>
                <p:nvPr/>
              </p:nvSpPr>
              <p:spPr>
                <a:xfrm>
                  <a:off x="1596641" y="1343826"/>
                  <a:ext cx="122887" cy="232012"/>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96" name="Rectangle: Rounded Corners 131">
                  <a:extLst>
                    <a:ext uri="{FF2B5EF4-FFF2-40B4-BE49-F238E27FC236}">
                      <a16:creationId xmlns:a16="http://schemas.microsoft.com/office/drawing/2014/main" id="{A68610AF-FA7B-B9F3-34F8-7A5D9C030789}"/>
                    </a:ext>
                  </a:extLst>
                </p:cNvPr>
                <p:cNvSpPr/>
                <p:nvPr/>
              </p:nvSpPr>
              <p:spPr>
                <a:xfrm>
                  <a:off x="1507839" y="1271344"/>
                  <a:ext cx="300490" cy="100620"/>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97" name="Rectangle: Rounded Corners 132">
                  <a:extLst>
                    <a:ext uri="{FF2B5EF4-FFF2-40B4-BE49-F238E27FC236}">
                      <a16:creationId xmlns:a16="http://schemas.microsoft.com/office/drawing/2014/main" id="{CFAE2D52-F664-DDF7-9BEF-C2E10A8F75CF}"/>
                    </a:ext>
                  </a:extLst>
                </p:cNvPr>
                <p:cNvSpPr/>
                <p:nvPr/>
              </p:nvSpPr>
              <p:spPr>
                <a:xfrm>
                  <a:off x="1309947" y="1555845"/>
                  <a:ext cx="696274" cy="1281483"/>
                </a:xfrm>
                <a:prstGeom prst="round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98" name="Oval 297">
                  <a:extLst>
                    <a:ext uri="{FF2B5EF4-FFF2-40B4-BE49-F238E27FC236}">
                      <a16:creationId xmlns:a16="http://schemas.microsoft.com/office/drawing/2014/main" id="{3DCD56BE-81CA-18FB-574B-C9BE93FFC02C}"/>
                    </a:ext>
                  </a:extLst>
                </p:cNvPr>
                <p:cNvSpPr/>
                <p:nvPr/>
              </p:nvSpPr>
              <p:spPr>
                <a:xfrm>
                  <a:off x="1374833" y="1766309"/>
                  <a:ext cx="563117" cy="563117"/>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99" name="Rectangle: Rounded Corners 134">
                  <a:extLst>
                    <a:ext uri="{FF2B5EF4-FFF2-40B4-BE49-F238E27FC236}">
                      <a16:creationId xmlns:a16="http://schemas.microsoft.com/office/drawing/2014/main" id="{3D42585B-891A-2691-B323-85486B6CE463}"/>
                    </a:ext>
                  </a:extLst>
                </p:cNvPr>
                <p:cNvSpPr/>
                <p:nvPr/>
              </p:nvSpPr>
              <p:spPr>
                <a:xfrm>
                  <a:off x="1719528" y="2097741"/>
                  <a:ext cx="218422" cy="355411"/>
                </a:xfrm>
                <a:prstGeom prst="round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300" name="TextBox 299">
                  <a:extLst>
                    <a:ext uri="{FF2B5EF4-FFF2-40B4-BE49-F238E27FC236}">
                      <a16:creationId xmlns:a16="http://schemas.microsoft.com/office/drawing/2014/main" id="{1C6C76D8-910A-0DE3-F2B7-0CD7D5F27865}"/>
                    </a:ext>
                  </a:extLst>
                </p:cNvPr>
                <p:cNvSpPr txBox="1"/>
                <p:nvPr/>
              </p:nvSpPr>
              <p:spPr>
                <a:xfrm>
                  <a:off x="1371390" y="1782316"/>
                  <a:ext cx="696275" cy="879500"/>
                </a:xfrm>
                <a:prstGeom prst="rect">
                  <a:avLst/>
                </a:prstGeom>
                <a:noFill/>
              </p:spPr>
              <p:txBody>
                <a:bodyPr wrap="square">
                  <a:spAutoFit/>
                </a:bodyPr>
                <a:lstStyle/>
                <a:p>
                  <a:pPr algn="ctr"/>
                  <a:r>
                    <a:rPr lang="en-GB" sz="1116" b="1">
                      <a:solidFill>
                        <a:schemeClr val="bg1"/>
                      </a:solidFill>
                    </a:rPr>
                    <a:t>H</a:t>
                  </a:r>
                  <a:r>
                    <a:rPr lang="en-GB" sz="1116" b="1" baseline="-25000">
                      <a:solidFill>
                        <a:schemeClr val="bg1"/>
                      </a:solidFill>
                    </a:rPr>
                    <a:t>2</a:t>
                  </a:r>
                  <a:endParaRPr lang="en-US" sz="1116" b="1" baseline="-25000">
                    <a:solidFill>
                      <a:schemeClr val="bg1"/>
                    </a:solidFill>
                  </a:endParaRPr>
                </a:p>
              </p:txBody>
            </p:sp>
          </p:grpSp>
          <p:grpSp>
            <p:nvGrpSpPr>
              <p:cNvPr id="286" name="Group 285">
                <a:extLst>
                  <a:ext uri="{FF2B5EF4-FFF2-40B4-BE49-F238E27FC236}">
                    <a16:creationId xmlns:a16="http://schemas.microsoft.com/office/drawing/2014/main" id="{9FA98729-0564-A92D-4C7B-9DF395A34008}"/>
                  </a:ext>
                </a:extLst>
              </p:cNvPr>
              <p:cNvGrpSpPr/>
              <p:nvPr/>
            </p:nvGrpSpPr>
            <p:grpSpPr>
              <a:xfrm>
                <a:off x="2259413" y="1943095"/>
                <a:ext cx="757718" cy="1565984"/>
                <a:chOff x="1309947" y="1271344"/>
                <a:chExt cx="757718" cy="1565984"/>
              </a:xfrm>
            </p:grpSpPr>
            <p:sp>
              <p:nvSpPr>
                <p:cNvPr id="287" name="Rectangle: Rounded Corners 515">
                  <a:extLst>
                    <a:ext uri="{FF2B5EF4-FFF2-40B4-BE49-F238E27FC236}">
                      <a16:creationId xmlns:a16="http://schemas.microsoft.com/office/drawing/2014/main" id="{765853BA-15A1-00D0-8130-8AEA760A6760}"/>
                    </a:ext>
                  </a:extLst>
                </p:cNvPr>
                <p:cNvSpPr/>
                <p:nvPr/>
              </p:nvSpPr>
              <p:spPr>
                <a:xfrm>
                  <a:off x="1439720" y="1432119"/>
                  <a:ext cx="436728" cy="191698"/>
                </a:xfrm>
                <a:prstGeom prst="round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88" name="Rectangle: Rounded Corners 516">
                  <a:extLst>
                    <a:ext uri="{FF2B5EF4-FFF2-40B4-BE49-F238E27FC236}">
                      <a16:creationId xmlns:a16="http://schemas.microsoft.com/office/drawing/2014/main" id="{0AE66FC4-7E85-FDAF-8F3C-3C2C13CA14E9}"/>
                    </a:ext>
                  </a:extLst>
                </p:cNvPr>
                <p:cNvSpPr/>
                <p:nvPr/>
              </p:nvSpPr>
              <p:spPr>
                <a:xfrm>
                  <a:off x="1596641" y="1343826"/>
                  <a:ext cx="122887" cy="232012"/>
                </a:xfrm>
                <a:prstGeom prst="round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89" name="Rectangle: Rounded Corners 517">
                  <a:extLst>
                    <a:ext uri="{FF2B5EF4-FFF2-40B4-BE49-F238E27FC236}">
                      <a16:creationId xmlns:a16="http://schemas.microsoft.com/office/drawing/2014/main" id="{389DA343-C9EB-D10F-1405-31FFC4021A86}"/>
                    </a:ext>
                  </a:extLst>
                </p:cNvPr>
                <p:cNvSpPr/>
                <p:nvPr/>
              </p:nvSpPr>
              <p:spPr>
                <a:xfrm>
                  <a:off x="1507839" y="1271344"/>
                  <a:ext cx="300490" cy="100620"/>
                </a:xfrm>
                <a:prstGeom prst="round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90" name="Rectangle: Rounded Corners 518">
                  <a:extLst>
                    <a:ext uri="{FF2B5EF4-FFF2-40B4-BE49-F238E27FC236}">
                      <a16:creationId xmlns:a16="http://schemas.microsoft.com/office/drawing/2014/main" id="{85C45EB7-446B-4D2E-F6D8-9A9C4BB8E95A}"/>
                    </a:ext>
                  </a:extLst>
                </p:cNvPr>
                <p:cNvSpPr/>
                <p:nvPr/>
              </p:nvSpPr>
              <p:spPr>
                <a:xfrm>
                  <a:off x="1309947" y="1555845"/>
                  <a:ext cx="696274" cy="1281483"/>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91" name="Oval 290">
                  <a:extLst>
                    <a:ext uri="{FF2B5EF4-FFF2-40B4-BE49-F238E27FC236}">
                      <a16:creationId xmlns:a16="http://schemas.microsoft.com/office/drawing/2014/main" id="{D93C57F8-43CA-2F24-3627-9B74A210F5A1}"/>
                    </a:ext>
                  </a:extLst>
                </p:cNvPr>
                <p:cNvSpPr/>
                <p:nvPr/>
              </p:nvSpPr>
              <p:spPr>
                <a:xfrm>
                  <a:off x="1374833" y="1766309"/>
                  <a:ext cx="563117" cy="563117"/>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92" name="Rectangle: Rounded Corners 520">
                  <a:extLst>
                    <a:ext uri="{FF2B5EF4-FFF2-40B4-BE49-F238E27FC236}">
                      <a16:creationId xmlns:a16="http://schemas.microsoft.com/office/drawing/2014/main" id="{7713B585-A44E-25F7-4006-2D7F3E2D9B0B}"/>
                    </a:ext>
                  </a:extLst>
                </p:cNvPr>
                <p:cNvSpPr/>
                <p:nvPr/>
              </p:nvSpPr>
              <p:spPr>
                <a:xfrm>
                  <a:off x="1719528" y="2097741"/>
                  <a:ext cx="218422" cy="355411"/>
                </a:xfrm>
                <a:prstGeom prst="round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6966" tIns="66966" rIns="66966" bIns="66966" rtlCol="0" anchor="ctr"/>
                <a:lstStyle/>
                <a:p>
                  <a:pPr marL="111618" indent="-111618">
                    <a:lnSpc>
                      <a:spcPts val="1215"/>
                    </a:lnSpc>
                    <a:buClr>
                      <a:schemeClr val="accent1"/>
                    </a:buClr>
                    <a:buFont typeface="Wingdings" panose="05000000000000000000" pitchFamily="2" charset="2"/>
                    <a:buChar char="§"/>
                  </a:pPr>
                  <a:endParaRPr lang="en-US" sz="744">
                    <a:solidFill>
                      <a:schemeClr val="tx1"/>
                    </a:solidFill>
                  </a:endParaRPr>
                </a:p>
              </p:txBody>
            </p:sp>
            <p:sp>
              <p:nvSpPr>
                <p:cNvPr id="293" name="TextBox 292">
                  <a:extLst>
                    <a:ext uri="{FF2B5EF4-FFF2-40B4-BE49-F238E27FC236}">
                      <a16:creationId xmlns:a16="http://schemas.microsoft.com/office/drawing/2014/main" id="{D1704CDE-F91F-B01B-00DA-FCFE23612761}"/>
                    </a:ext>
                  </a:extLst>
                </p:cNvPr>
                <p:cNvSpPr txBox="1"/>
                <p:nvPr/>
              </p:nvSpPr>
              <p:spPr>
                <a:xfrm>
                  <a:off x="1371390" y="1782316"/>
                  <a:ext cx="696275" cy="879500"/>
                </a:xfrm>
                <a:prstGeom prst="rect">
                  <a:avLst/>
                </a:prstGeom>
                <a:noFill/>
              </p:spPr>
              <p:txBody>
                <a:bodyPr wrap="square">
                  <a:spAutoFit/>
                </a:bodyPr>
                <a:lstStyle/>
                <a:p>
                  <a:pPr algn="ctr"/>
                  <a:r>
                    <a:rPr lang="en-GB" sz="1116" b="1">
                      <a:solidFill>
                        <a:schemeClr val="bg1"/>
                      </a:solidFill>
                    </a:rPr>
                    <a:t>H</a:t>
                  </a:r>
                  <a:r>
                    <a:rPr lang="en-GB" sz="1116" b="1" baseline="-25000">
                      <a:solidFill>
                        <a:schemeClr val="bg1"/>
                      </a:solidFill>
                    </a:rPr>
                    <a:t>2</a:t>
                  </a:r>
                  <a:endParaRPr lang="en-US" sz="1736" b="1" baseline="-25000">
                    <a:solidFill>
                      <a:schemeClr val="bg1"/>
                    </a:solidFill>
                  </a:endParaRPr>
                </a:p>
              </p:txBody>
            </p:sp>
          </p:grpSp>
        </p:grpSp>
      </p:grpSp>
      <p:cxnSp>
        <p:nvCxnSpPr>
          <p:cNvPr id="331" name="Straight Arrow Connector 330"/>
          <p:cNvCxnSpPr/>
          <p:nvPr/>
        </p:nvCxnSpPr>
        <p:spPr>
          <a:xfrm>
            <a:off x="2648063" y="2724508"/>
            <a:ext cx="419726"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33" name="Straight Arrow Connector 332"/>
          <p:cNvCxnSpPr/>
          <p:nvPr/>
        </p:nvCxnSpPr>
        <p:spPr>
          <a:xfrm>
            <a:off x="4723572" y="2724508"/>
            <a:ext cx="419726"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34" name="Straight Arrow Connector 333"/>
          <p:cNvCxnSpPr/>
          <p:nvPr/>
        </p:nvCxnSpPr>
        <p:spPr>
          <a:xfrm>
            <a:off x="6811671" y="2724508"/>
            <a:ext cx="419726"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35" name="Straight Arrow Connector 334"/>
          <p:cNvCxnSpPr/>
          <p:nvPr/>
        </p:nvCxnSpPr>
        <p:spPr>
          <a:xfrm>
            <a:off x="8869593" y="2724508"/>
            <a:ext cx="419726"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37" name="Elbow Connector 336"/>
          <p:cNvCxnSpPr>
            <a:cxnSpLocks/>
            <a:endCxn id="20" idx="0"/>
          </p:cNvCxnSpPr>
          <p:nvPr/>
        </p:nvCxnSpPr>
        <p:spPr>
          <a:xfrm rot="5400000">
            <a:off x="5640476" y="-148005"/>
            <a:ext cx="678775" cy="8269953"/>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44" name="Straight Arrow Connector 343"/>
          <p:cNvCxnSpPr/>
          <p:nvPr/>
        </p:nvCxnSpPr>
        <p:spPr>
          <a:xfrm>
            <a:off x="2639716" y="5328243"/>
            <a:ext cx="222990" cy="670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46" name="Straight Arrow Connector 345"/>
          <p:cNvCxnSpPr/>
          <p:nvPr/>
        </p:nvCxnSpPr>
        <p:spPr>
          <a:xfrm>
            <a:off x="4461522" y="5328243"/>
            <a:ext cx="222990" cy="670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47" name="Straight Arrow Connector 346"/>
          <p:cNvCxnSpPr/>
          <p:nvPr/>
        </p:nvCxnSpPr>
        <p:spPr>
          <a:xfrm>
            <a:off x="6323944" y="5328243"/>
            <a:ext cx="222990" cy="670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48" name="Straight Arrow Connector 347"/>
          <p:cNvCxnSpPr/>
          <p:nvPr/>
        </p:nvCxnSpPr>
        <p:spPr>
          <a:xfrm>
            <a:off x="8176374" y="5328243"/>
            <a:ext cx="222990" cy="670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49" name="Straight Arrow Connector 348"/>
          <p:cNvCxnSpPr/>
          <p:nvPr/>
        </p:nvCxnSpPr>
        <p:spPr>
          <a:xfrm>
            <a:off x="10047923" y="5328243"/>
            <a:ext cx="222990" cy="670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7567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06714" y="398765"/>
            <a:ext cx="10515600" cy="782357"/>
          </a:xfrm>
        </p:spPr>
        <p:txBody>
          <a:bodyPr/>
          <a:lstStyle/>
          <a:p>
            <a:r>
              <a:rPr lang="en-IE" dirty="0"/>
              <a:t>2023 pilot </a:t>
            </a:r>
            <a:r>
              <a:rPr lang="en-IE" dirty="0" err="1"/>
              <a:t>auctio</a:t>
            </a:r>
            <a:endParaRPr lang="en-IE" dirty="0"/>
          </a:p>
        </p:txBody>
      </p:sp>
      <p:grpSp>
        <p:nvGrpSpPr>
          <p:cNvPr id="35" name="Group 34">
            <a:extLst>
              <a:ext uri="{FF2B5EF4-FFF2-40B4-BE49-F238E27FC236}">
                <a16:creationId xmlns:a16="http://schemas.microsoft.com/office/drawing/2014/main" id="{AA6467DF-BB8C-1761-BB51-497375A8C675}"/>
              </a:ext>
            </a:extLst>
          </p:cNvPr>
          <p:cNvGrpSpPr/>
          <p:nvPr/>
        </p:nvGrpSpPr>
        <p:grpSpPr>
          <a:xfrm>
            <a:off x="800769" y="4892326"/>
            <a:ext cx="3932786" cy="1648709"/>
            <a:chOff x="4914588" y="1810735"/>
            <a:chExt cx="3167891" cy="1717060"/>
          </a:xfrm>
        </p:grpSpPr>
        <p:grpSp>
          <p:nvGrpSpPr>
            <p:cNvPr id="36" name="Group 35">
              <a:extLst>
                <a:ext uri="{FF2B5EF4-FFF2-40B4-BE49-F238E27FC236}">
                  <a16:creationId xmlns:a16="http://schemas.microsoft.com/office/drawing/2014/main" id="{FC29C4DC-936C-4003-A6B4-B14BA3336239}"/>
                </a:ext>
              </a:extLst>
            </p:cNvPr>
            <p:cNvGrpSpPr/>
            <p:nvPr/>
          </p:nvGrpSpPr>
          <p:grpSpPr>
            <a:xfrm>
              <a:off x="4914588" y="1954724"/>
              <a:ext cx="2551889" cy="1573071"/>
              <a:chOff x="4790762" y="2090162"/>
              <a:chExt cx="2551889" cy="1573071"/>
            </a:xfrm>
          </p:grpSpPr>
          <p:sp>
            <p:nvSpPr>
              <p:cNvPr id="44" name="TextBox 43">
                <a:extLst>
                  <a:ext uri="{FF2B5EF4-FFF2-40B4-BE49-F238E27FC236}">
                    <a16:creationId xmlns:a16="http://schemas.microsoft.com/office/drawing/2014/main" id="{8B9B5992-8180-0F9D-B4FB-F0EA10C35B5F}"/>
                  </a:ext>
                </a:extLst>
              </p:cNvPr>
              <p:cNvSpPr txBox="1"/>
              <p:nvPr/>
            </p:nvSpPr>
            <p:spPr>
              <a:xfrm rot="16200000">
                <a:off x="4435623" y="2468018"/>
                <a:ext cx="1018056" cy="307777"/>
              </a:xfrm>
              <a:prstGeom prst="rect">
                <a:avLst/>
              </a:prstGeom>
              <a:noFill/>
            </p:spPr>
            <p:txBody>
              <a:bodyPr wrap="square">
                <a:spAutoFit/>
              </a:bodyPr>
              <a:lstStyle/>
              <a:p>
                <a:r>
                  <a:rPr lang="en-US" sz="1400" b="0" i="1">
                    <a:solidFill>
                      <a:schemeClr val="tx1">
                        <a:lumMod val="50000"/>
                      </a:schemeClr>
                    </a:solidFill>
                    <a:effectLst/>
                    <a:latin typeface="Arial" panose="020B0604020202020204" pitchFamily="34" charset="0"/>
                    <a:cs typeface="Arial" panose="020B0604020202020204" pitchFamily="34" charset="0"/>
                  </a:rPr>
                  <a:t>€‎/kg H</a:t>
                </a:r>
                <a:r>
                  <a:rPr lang="en-US" sz="1400" b="0" i="1" baseline="-25000">
                    <a:solidFill>
                      <a:schemeClr val="tx1">
                        <a:lumMod val="50000"/>
                      </a:schemeClr>
                    </a:solidFill>
                    <a:effectLst/>
                    <a:latin typeface="Arial" panose="020B0604020202020204" pitchFamily="34" charset="0"/>
                    <a:cs typeface="Arial" panose="020B0604020202020204" pitchFamily="34" charset="0"/>
                  </a:rPr>
                  <a:t>2</a:t>
                </a:r>
                <a:endParaRPr lang="en-US" sz="1400" i="1" baseline="-25000">
                  <a:solidFill>
                    <a:schemeClr val="tx1">
                      <a:lumMod val="50000"/>
                    </a:schemeClr>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1BCA959D-D97B-F38F-ED68-5A06FE60C60C}"/>
                  </a:ext>
                </a:extLst>
              </p:cNvPr>
              <p:cNvSpPr txBox="1"/>
              <p:nvPr/>
            </p:nvSpPr>
            <p:spPr>
              <a:xfrm>
                <a:off x="6604665" y="3340680"/>
                <a:ext cx="737986" cy="322553"/>
              </a:xfrm>
              <a:prstGeom prst="rect">
                <a:avLst/>
              </a:prstGeom>
              <a:noFill/>
            </p:spPr>
            <p:txBody>
              <a:bodyPr wrap="square">
                <a:spAutoFit/>
              </a:bodyPr>
              <a:lstStyle/>
              <a:p>
                <a:r>
                  <a:rPr lang="en-US" sz="1400" b="0" i="1">
                    <a:solidFill>
                      <a:schemeClr val="tx1">
                        <a:lumMod val="50000"/>
                      </a:schemeClr>
                    </a:solidFill>
                    <a:effectLst/>
                    <a:latin typeface="Arial" panose="020B0604020202020204" pitchFamily="34" charset="0"/>
                    <a:cs typeface="Arial" panose="020B0604020202020204" pitchFamily="34" charset="0"/>
                  </a:rPr>
                  <a:t>Kg H2</a:t>
                </a:r>
                <a:endParaRPr lang="en-US" sz="1400" i="1" baseline="-25000">
                  <a:solidFill>
                    <a:schemeClr val="tx1">
                      <a:lumMod val="50000"/>
                    </a:schemeClr>
                  </a:solidFill>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F1B0D9D2-882E-1D7E-525D-293406827366}"/>
                  </a:ext>
                </a:extLst>
              </p:cNvPr>
              <p:cNvSpPr/>
              <p:nvPr/>
            </p:nvSpPr>
            <p:spPr>
              <a:xfrm>
                <a:off x="5150887" y="2886174"/>
                <a:ext cx="85427" cy="413825"/>
              </a:xfrm>
              <a:prstGeom prst="rect">
                <a:avLst/>
              </a:prstGeom>
              <a:solidFill>
                <a:schemeClr val="accent2">
                  <a:lumMod val="7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cxnSp>
            <p:nvCxnSpPr>
              <p:cNvPr id="47" name="Straight Connector 46">
                <a:extLst>
                  <a:ext uri="{FF2B5EF4-FFF2-40B4-BE49-F238E27FC236}">
                    <a16:creationId xmlns:a16="http://schemas.microsoft.com/office/drawing/2014/main" id="{AFEB2A95-B49A-B718-F68E-B35360673B02}"/>
                  </a:ext>
                </a:extLst>
              </p:cNvPr>
              <p:cNvCxnSpPr>
                <a:cxnSpLocks/>
              </p:cNvCxnSpPr>
              <p:nvPr/>
            </p:nvCxnSpPr>
            <p:spPr>
              <a:xfrm>
                <a:off x="5151134" y="2349948"/>
                <a:ext cx="1338591" cy="0"/>
              </a:xfrm>
              <a:prstGeom prst="line">
                <a:avLst/>
              </a:prstGeom>
              <a:ln w="19050">
                <a:solidFill>
                  <a:schemeClr val="tx2">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04484DB-D2B5-8AB6-E39B-C0D1B9D255BD}"/>
                  </a:ext>
                </a:extLst>
              </p:cNvPr>
              <p:cNvCxnSpPr>
                <a:cxnSpLocks/>
              </p:cNvCxnSpPr>
              <p:nvPr/>
            </p:nvCxnSpPr>
            <p:spPr>
              <a:xfrm>
                <a:off x="5145291" y="2090162"/>
                <a:ext cx="0" cy="1210366"/>
              </a:xfrm>
              <a:prstGeom prst="line">
                <a:avLst/>
              </a:prstGeom>
              <a:ln w="19050">
                <a:solidFill>
                  <a:schemeClr val="tx1">
                    <a:lumMod val="95000"/>
                    <a:lumOff val="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4AFD2D80-E161-7F80-0959-FF98EC4B5651}"/>
                  </a:ext>
                </a:extLst>
              </p:cNvPr>
              <p:cNvSpPr/>
              <p:nvPr/>
            </p:nvSpPr>
            <p:spPr>
              <a:xfrm>
                <a:off x="5238233" y="2725574"/>
                <a:ext cx="137214" cy="574954"/>
              </a:xfrm>
              <a:prstGeom prst="rect">
                <a:avLst/>
              </a:prstGeom>
              <a:solidFill>
                <a:schemeClr val="accent2">
                  <a:lumMod val="7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4D5A79E4-91D5-49ED-6248-6DE37F043053}"/>
                  </a:ext>
                </a:extLst>
              </p:cNvPr>
              <p:cNvSpPr/>
              <p:nvPr/>
            </p:nvSpPr>
            <p:spPr>
              <a:xfrm>
                <a:off x="5372472" y="2673052"/>
                <a:ext cx="45719" cy="627476"/>
              </a:xfrm>
              <a:prstGeom prst="rect">
                <a:avLst/>
              </a:prstGeom>
              <a:solidFill>
                <a:schemeClr val="accent2">
                  <a:lumMod val="7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0470F1B8-92BE-ED38-59CA-7C1F093A956D}"/>
                  </a:ext>
                </a:extLst>
              </p:cNvPr>
              <p:cNvSpPr/>
              <p:nvPr/>
            </p:nvSpPr>
            <p:spPr>
              <a:xfrm>
                <a:off x="5418841" y="2555662"/>
                <a:ext cx="190271" cy="744866"/>
              </a:xfrm>
              <a:prstGeom prst="rect">
                <a:avLst/>
              </a:prstGeom>
              <a:solidFill>
                <a:schemeClr val="accent2">
                  <a:lumMod val="7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81C637F9-273D-AEF0-8672-E88C748553E8}"/>
                  </a:ext>
                </a:extLst>
              </p:cNvPr>
              <p:cNvSpPr/>
              <p:nvPr/>
            </p:nvSpPr>
            <p:spPr>
              <a:xfrm>
                <a:off x="5606333" y="2494957"/>
                <a:ext cx="190271" cy="805571"/>
              </a:xfrm>
              <a:prstGeom prst="rect">
                <a:avLst/>
              </a:prstGeom>
              <a:solidFill>
                <a:schemeClr val="accent2">
                  <a:lumMod val="7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A90E1E36-2F90-66C6-A036-FCD6C53C7564}"/>
                  </a:ext>
                </a:extLst>
              </p:cNvPr>
              <p:cNvSpPr/>
              <p:nvPr/>
            </p:nvSpPr>
            <p:spPr>
              <a:xfrm>
                <a:off x="5791791" y="2450493"/>
                <a:ext cx="554961" cy="850035"/>
              </a:xfrm>
              <a:prstGeom prst="rect">
                <a:avLst/>
              </a:prstGeom>
              <a:solidFill>
                <a:schemeClr val="accent2">
                  <a:lumMod val="7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798A5E4E-AFA9-D0DD-BFFE-C27EBC0547DB}"/>
                  </a:ext>
                </a:extLst>
              </p:cNvPr>
              <p:cNvSpPr/>
              <p:nvPr/>
            </p:nvSpPr>
            <p:spPr>
              <a:xfrm>
                <a:off x="6346073" y="2367402"/>
                <a:ext cx="122648" cy="933126"/>
              </a:xfrm>
              <a:prstGeom prst="rect">
                <a:avLst/>
              </a:prstGeom>
              <a:solidFill>
                <a:schemeClr val="accent2">
                  <a:lumMod val="7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FDFCF8C4-48F8-2A97-F70A-75698540AE18}"/>
                  </a:ext>
                </a:extLst>
              </p:cNvPr>
              <p:cNvSpPr/>
              <p:nvPr/>
            </p:nvSpPr>
            <p:spPr>
              <a:xfrm>
                <a:off x="6472107" y="2430348"/>
                <a:ext cx="158003" cy="870180"/>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2A7BA69C-148F-F770-BF2D-2E12B9BFEF4F}"/>
                  </a:ext>
                </a:extLst>
              </p:cNvPr>
              <p:cNvSpPr/>
              <p:nvPr/>
            </p:nvSpPr>
            <p:spPr>
              <a:xfrm>
                <a:off x="6630742" y="2398685"/>
                <a:ext cx="158003" cy="901843"/>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EE45DF12-F404-5530-6CB6-4483FAC7C54B}"/>
                  </a:ext>
                </a:extLst>
              </p:cNvPr>
              <p:cNvSpPr/>
              <p:nvPr/>
            </p:nvSpPr>
            <p:spPr>
              <a:xfrm>
                <a:off x="6786855" y="2300139"/>
                <a:ext cx="103646" cy="1000389"/>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lumMod val="50000"/>
                    </a:schemeClr>
                  </a:solidFill>
                  <a:latin typeface="Arial" panose="020B0604020202020204" pitchFamily="34" charset="0"/>
                  <a:cs typeface="Arial" panose="020B0604020202020204" pitchFamily="34" charset="0"/>
                </a:endParaRPr>
              </a:p>
            </p:txBody>
          </p:sp>
          <p:cxnSp>
            <p:nvCxnSpPr>
              <p:cNvPr id="58" name="Straight Connector 57">
                <a:extLst>
                  <a:ext uri="{FF2B5EF4-FFF2-40B4-BE49-F238E27FC236}">
                    <a16:creationId xmlns:a16="http://schemas.microsoft.com/office/drawing/2014/main" id="{3EA07C59-6EFC-9EDC-7512-C44861720E73}"/>
                  </a:ext>
                </a:extLst>
              </p:cNvPr>
              <p:cNvCxnSpPr>
                <a:cxnSpLocks/>
              </p:cNvCxnSpPr>
              <p:nvPr/>
            </p:nvCxnSpPr>
            <p:spPr>
              <a:xfrm flipV="1">
                <a:off x="6486606" y="2188788"/>
                <a:ext cx="0" cy="1107069"/>
              </a:xfrm>
              <a:prstGeom prst="line">
                <a:avLst/>
              </a:prstGeom>
              <a:ln w="19050">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03646E3-5FBD-F3F2-C7A8-7A5750A8780A}"/>
                  </a:ext>
                </a:extLst>
              </p:cNvPr>
              <p:cNvCxnSpPr>
                <a:cxnSpLocks/>
              </p:cNvCxnSpPr>
              <p:nvPr/>
            </p:nvCxnSpPr>
            <p:spPr>
              <a:xfrm>
                <a:off x="5139450" y="3300528"/>
                <a:ext cx="1933982" cy="0"/>
              </a:xfrm>
              <a:prstGeom prst="line">
                <a:avLst/>
              </a:prstGeom>
              <a:ln w="19050">
                <a:solidFill>
                  <a:schemeClr val="tx1">
                    <a:lumMod val="95000"/>
                    <a:lumOff val="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37" name="Straight Arrow Connector 36">
              <a:extLst>
                <a:ext uri="{FF2B5EF4-FFF2-40B4-BE49-F238E27FC236}">
                  <a16:creationId xmlns:a16="http://schemas.microsoft.com/office/drawing/2014/main" id="{A290B7FA-DCD5-5897-A6A4-09A7635D453E}"/>
                </a:ext>
              </a:extLst>
            </p:cNvPr>
            <p:cNvCxnSpPr>
              <a:cxnSpLocks/>
            </p:cNvCxnSpPr>
            <p:nvPr/>
          </p:nvCxnSpPr>
          <p:spPr>
            <a:xfrm flipH="1">
              <a:off x="6964490" y="2060184"/>
              <a:ext cx="444476" cy="217517"/>
            </a:xfrm>
            <a:prstGeom prst="straightConnector1">
              <a:avLst/>
            </a:prstGeom>
            <a:ln w="19050">
              <a:solidFill>
                <a:schemeClr val="accent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1C849901-0115-C0C6-FF25-2B287E2A81F4}"/>
                </a:ext>
              </a:extLst>
            </p:cNvPr>
            <p:cNvCxnSpPr>
              <a:cxnSpLocks/>
              <a:stCxn id="39" idx="1"/>
            </p:cNvCxnSpPr>
            <p:nvPr/>
          </p:nvCxnSpPr>
          <p:spPr>
            <a:xfrm flipH="1">
              <a:off x="5421381" y="2873533"/>
              <a:ext cx="1861016" cy="204315"/>
            </a:xfrm>
            <a:prstGeom prst="straightConnector1">
              <a:avLst/>
            </a:prstGeom>
            <a:ln w="19050">
              <a:solidFill>
                <a:schemeClr val="accent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65C2635-3F9D-3791-8F3E-8BA6A96ECAD1}"/>
                </a:ext>
              </a:extLst>
            </p:cNvPr>
            <p:cNvSpPr txBox="1"/>
            <p:nvPr/>
          </p:nvSpPr>
          <p:spPr>
            <a:xfrm>
              <a:off x="7282397" y="2486470"/>
              <a:ext cx="800082" cy="774127"/>
            </a:xfrm>
            <a:prstGeom prst="rect">
              <a:avLst/>
            </a:prstGeom>
            <a:noFill/>
          </p:spPr>
          <p:txBody>
            <a:bodyPr wrap="square">
              <a:spAutoFit/>
            </a:bodyPr>
            <a:lstStyle/>
            <a:p>
              <a:pPr algn="r"/>
              <a:r>
                <a:rPr lang="en-US" sz="1400">
                  <a:solidFill>
                    <a:schemeClr val="tx1">
                      <a:lumMod val="50000"/>
                    </a:schemeClr>
                  </a:solidFill>
                  <a:effectLst/>
                  <a:latin typeface="Arial" panose="020B0604020202020204" pitchFamily="34" charset="0"/>
                  <a:cs typeface="Arial" panose="020B0604020202020204" pitchFamily="34" charset="0"/>
                </a:rPr>
                <a:t>Awarded </a:t>
              </a:r>
            </a:p>
            <a:p>
              <a:pPr algn="r"/>
              <a:r>
                <a:rPr lang="en-US" sz="1400">
                  <a:solidFill>
                    <a:schemeClr val="tx1">
                      <a:lumMod val="50000"/>
                    </a:schemeClr>
                  </a:solidFill>
                  <a:effectLst/>
                  <a:latin typeface="Arial" panose="020B0604020202020204" pitchFamily="34" charset="0"/>
                  <a:cs typeface="Arial" panose="020B0604020202020204" pitchFamily="34" charset="0"/>
                </a:rPr>
                <a:t>bids</a:t>
              </a:r>
            </a:p>
          </p:txBody>
        </p:sp>
        <p:sp>
          <p:nvSpPr>
            <p:cNvPr id="40" name="TextBox 39">
              <a:extLst>
                <a:ext uri="{FF2B5EF4-FFF2-40B4-BE49-F238E27FC236}">
                  <a16:creationId xmlns:a16="http://schemas.microsoft.com/office/drawing/2014/main" id="{9BBB0467-D6D1-4FF5-33DA-B50A61827AFF}"/>
                </a:ext>
              </a:extLst>
            </p:cNvPr>
            <p:cNvSpPr txBox="1"/>
            <p:nvPr/>
          </p:nvSpPr>
          <p:spPr>
            <a:xfrm>
              <a:off x="5270771" y="1915953"/>
              <a:ext cx="1362748" cy="322553"/>
            </a:xfrm>
            <a:prstGeom prst="rect">
              <a:avLst/>
            </a:prstGeom>
            <a:noFill/>
          </p:spPr>
          <p:txBody>
            <a:bodyPr wrap="square">
              <a:spAutoFit/>
            </a:bodyPr>
            <a:lstStyle/>
            <a:p>
              <a:pPr algn="ctr"/>
              <a:r>
                <a:rPr lang="en-US" sz="1400">
                  <a:solidFill>
                    <a:schemeClr val="tx1">
                      <a:lumMod val="50000"/>
                    </a:schemeClr>
                  </a:solidFill>
                  <a:effectLst/>
                  <a:latin typeface="Arial" panose="020B0604020202020204" pitchFamily="34" charset="0"/>
                  <a:cs typeface="Arial" panose="020B0604020202020204" pitchFamily="34" charset="0"/>
                </a:rPr>
                <a:t>Clearing price</a:t>
              </a:r>
            </a:p>
          </p:txBody>
        </p:sp>
        <p:sp>
          <p:nvSpPr>
            <p:cNvPr id="41" name="TextBox 40">
              <a:extLst>
                <a:ext uri="{FF2B5EF4-FFF2-40B4-BE49-F238E27FC236}">
                  <a16:creationId xmlns:a16="http://schemas.microsoft.com/office/drawing/2014/main" id="{4B09C0B4-93B3-783C-0122-307EBC3F5C48}"/>
                </a:ext>
              </a:extLst>
            </p:cNvPr>
            <p:cNvSpPr txBox="1"/>
            <p:nvPr/>
          </p:nvSpPr>
          <p:spPr>
            <a:xfrm>
              <a:off x="6820310" y="1810735"/>
              <a:ext cx="1096746" cy="774127"/>
            </a:xfrm>
            <a:prstGeom prst="rect">
              <a:avLst/>
            </a:prstGeom>
            <a:noFill/>
          </p:spPr>
          <p:txBody>
            <a:bodyPr wrap="square">
              <a:spAutoFit/>
            </a:bodyPr>
            <a:lstStyle/>
            <a:p>
              <a:pPr algn="r"/>
              <a:r>
                <a:rPr lang="en-US" sz="1400">
                  <a:solidFill>
                    <a:schemeClr val="tx1">
                      <a:lumMod val="50000"/>
                    </a:schemeClr>
                  </a:solidFill>
                  <a:effectLst/>
                  <a:latin typeface="Arial" panose="020B0604020202020204" pitchFamily="34" charset="0"/>
                  <a:cs typeface="Arial" panose="020B0604020202020204" pitchFamily="34" charset="0"/>
                </a:rPr>
                <a:t>Non-awarded </a:t>
              </a:r>
            </a:p>
            <a:p>
              <a:pPr algn="r"/>
              <a:r>
                <a:rPr lang="en-US" sz="1400">
                  <a:solidFill>
                    <a:schemeClr val="tx1">
                      <a:lumMod val="50000"/>
                    </a:schemeClr>
                  </a:solidFill>
                  <a:effectLst/>
                  <a:latin typeface="Arial" panose="020B0604020202020204" pitchFamily="34" charset="0"/>
                  <a:cs typeface="Arial" panose="020B0604020202020204" pitchFamily="34" charset="0"/>
                </a:rPr>
                <a:t>bids</a:t>
              </a:r>
            </a:p>
          </p:txBody>
        </p:sp>
        <p:cxnSp>
          <p:nvCxnSpPr>
            <p:cNvPr id="42" name="Straight Arrow Connector 41">
              <a:extLst>
                <a:ext uri="{FF2B5EF4-FFF2-40B4-BE49-F238E27FC236}">
                  <a16:creationId xmlns:a16="http://schemas.microsoft.com/office/drawing/2014/main" id="{FC50EF72-A9DC-A907-A526-1A480E30E638}"/>
                </a:ext>
              </a:extLst>
            </p:cNvPr>
            <p:cNvCxnSpPr/>
            <p:nvPr/>
          </p:nvCxnSpPr>
          <p:spPr>
            <a:xfrm>
              <a:off x="5274552" y="3261300"/>
              <a:ext cx="1385457" cy="0"/>
            </a:xfrm>
            <a:prstGeom prst="straightConnector1">
              <a:avLst/>
            </a:prstGeom>
            <a:ln w="28575">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5586791" y="1790534"/>
            <a:ext cx="6096000" cy="4508927"/>
          </a:xfrm>
          <a:prstGeom prst="rect">
            <a:avLst/>
          </a:prstGeom>
        </p:spPr>
        <p:txBody>
          <a:bodyPr>
            <a:spAutoFit/>
          </a:bodyPr>
          <a:lstStyle/>
          <a:p>
            <a:pPr marL="285750" indent="-285750">
              <a:spcAft>
                <a:spcPts val="600"/>
              </a:spcAft>
              <a:buFont typeface="Arial" panose="020B0604020202020204" pitchFamily="34" charset="0"/>
              <a:buChar char="•"/>
            </a:pPr>
            <a:r>
              <a:rPr lang="en-IE" dirty="0"/>
              <a:t>Budget: </a:t>
            </a:r>
            <a:r>
              <a:rPr lang="en-IE" b="1" dirty="0"/>
              <a:t>EUR 800mn</a:t>
            </a:r>
          </a:p>
          <a:p>
            <a:pPr marL="285750" indent="-285750">
              <a:spcAft>
                <a:spcPts val="600"/>
              </a:spcAft>
              <a:buFont typeface="Arial" panose="020B0604020202020204" pitchFamily="34" charset="0"/>
              <a:buChar char="•"/>
            </a:pPr>
            <a:r>
              <a:rPr lang="en-IE" dirty="0"/>
              <a:t>Auctioned good: </a:t>
            </a:r>
            <a:r>
              <a:rPr lang="en-IE" b="1" dirty="0"/>
              <a:t>Renewable Hydrogen</a:t>
            </a:r>
          </a:p>
          <a:p>
            <a:pPr marL="285750" indent="-285750">
              <a:spcAft>
                <a:spcPts val="600"/>
              </a:spcAft>
              <a:buFont typeface="Arial" panose="020B0604020202020204" pitchFamily="34" charset="0"/>
              <a:buChar char="•"/>
            </a:pPr>
            <a:r>
              <a:rPr lang="en-IE" dirty="0"/>
              <a:t>Support in form of a </a:t>
            </a:r>
            <a:r>
              <a:rPr lang="en-IE" b="1" dirty="0"/>
              <a:t>fixed premium</a:t>
            </a:r>
            <a:r>
              <a:rPr lang="en-IE" dirty="0"/>
              <a:t> in EUR/kg of renewable hydrogen produced, over </a:t>
            </a:r>
            <a:r>
              <a:rPr lang="en-IE" b="1" dirty="0"/>
              <a:t>10 years</a:t>
            </a:r>
          </a:p>
          <a:p>
            <a:pPr marL="285750" indent="-285750">
              <a:spcAft>
                <a:spcPts val="600"/>
              </a:spcAft>
              <a:buFont typeface="Arial" panose="020B0604020202020204" pitchFamily="34" charset="0"/>
              <a:buChar char="•"/>
            </a:pPr>
            <a:r>
              <a:rPr lang="en-IE" dirty="0"/>
              <a:t>Bids </a:t>
            </a:r>
            <a:r>
              <a:rPr lang="en-IE" b="1" dirty="0"/>
              <a:t>ranked on price </a:t>
            </a:r>
            <a:r>
              <a:rPr lang="en-IE" dirty="0"/>
              <a:t>– budget allocated to the projects with the lowest specific support requirements</a:t>
            </a:r>
          </a:p>
          <a:p>
            <a:pPr marL="285750" indent="-285750">
              <a:spcAft>
                <a:spcPts val="600"/>
              </a:spcAft>
              <a:buFont typeface="Arial" panose="020B0604020202020204" pitchFamily="34" charset="0"/>
              <a:buChar char="•"/>
            </a:pPr>
            <a:r>
              <a:rPr lang="en-IE" b="1" dirty="0"/>
              <a:t>Pay-as-bid</a:t>
            </a:r>
          </a:p>
          <a:p>
            <a:pPr marL="285750" indent="-285750">
              <a:spcAft>
                <a:spcPts val="600"/>
              </a:spcAft>
              <a:buFont typeface="Arial" panose="020B0604020202020204" pitchFamily="34" charset="0"/>
              <a:buChar char="•"/>
            </a:pPr>
            <a:r>
              <a:rPr lang="en-IE" b="1" dirty="0"/>
              <a:t>Output based support </a:t>
            </a:r>
            <a:r>
              <a:rPr lang="en-IE" dirty="0"/>
              <a:t>(upon verified and certified production of volumes), no payments before entry into operation</a:t>
            </a:r>
          </a:p>
          <a:p>
            <a:pPr marL="285750" indent="-285750">
              <a:spcAft>
                <a:spcPts val="600"/>
              </a:spcAft>
              <a:buFont typeface="Arial" panose="020B0604020202020204" pitchFamily="34" charset="0"/>
              <a:buChar char="•"/>
            </a:pPr>
            <a:r>
              <a:rPr lang="en-IE" b="1" dirty="0"/>
              <a:t>Maximum realisation period </a:t>
            </a:r>
            <a:r>
              <a:rPr lang="en-IE" dirty="0"/>
              <a:t>(time to entry into operation) of 3.5 years, can be prolonged to </a:t>
            </a:r>
            <a:r>
              <a:rPr lang="en-IE" b="1" dirty="0"/>
              <a:t>4 years </a:t>
            </a:r>
            <a:r>
              <a:rPr lang="en-IE" dirty="0"/>
              <a:t>under penalty</a:t>
            </a:r>
          </a:p>
          <a:p>
            <a:pPr marL="285750" indent="-285750">
              <a:spcAft>
                <a:spcPts val="600"/>
              </a:spcAft>
              <a:buFont typeface="Arial" panose="020B0604020202020204" pitchFamily="34" charset="0"/>
              <a:buChar char="•"/>
            </a:pPr>
            <a:r>
              <a:rPr lang="en-IE" b="1" dirty="0"/>
              <a:t>No cumulation </a:t>
            </a:r>
            <a:r>
              <a:rPr lang="en-IE" dirty="0"/>
              <a:t>with other public funding</a:t>
            </a:r>
          </a:p>
        </p:txBody>
      </p:sp>
      <p:sp>
        <p:nvSpPr>
          <p:cNvPr id="4" name="Rectangle 3"/>
          <p:cNvSpPr/>
          <p:nvPr/>
        </p:nvSpPr>
        <p:spPr>
          <a:xfrm>
            <a:off x="683611" y="1679289"/>
            <a:ext cx="3694805" cy="375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E" b="1">
                <a:solidFill>
                  <a:schemeClr val="tx1"/>
                </a:solidFill>
              </a:rPr>
              <a:t>Fixed-premium auction</a:t>
            </a:r>
          </a:p>
        </p:txBody>
      </p:sp>
      <p:sp>
        <p:nvSpPr>
          <p:cNvPr id="61" name="Rectangle 60"/>
          <p:cNvSpPr/>
          <p:nvPr/>
        </p:nvSpPr>
        <p:spPr>
          <a:xfrm>
            <a:off x="789895" y="4345864"/>
            <a:ext cx="3694805" cy="375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E" b="1">
                <a:solidFill>
                  <a:schemeClr val="tx1"/>
                </a:solidFill>
              </a:rPr>
              <a:t>Bids ranked on price</a:t>
            </a:r>
          </a:p>
        </p:txBody>
      </p:sp>
      <p:cxnSp>
        <p:nvCxnSpPr>
          <p:cNvPr id="6" name="Straight Connector 5"/>
          <p:cNvCxnSpPr/>
          <p:nvPr/>
        </p:nvCxnSpPr>
        <p:spPr>
          <a:xfrm>
            <a:off x="5348614" y="1441499"/>
            <a:ext cx="0" cy="5258901"/>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398100" y="4109697"/>
            <a:ext cx="4649889" cy="1491"/>
          </a:xfrm>
          <a:prstGeom prst="line">
            <a:avLst/>
          </a:prstGeom>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8893471" y="441419"/>
            <a:ext cx="3367984" cy="701525"/>
            <a:chOff x="8893471" y="441419"/>
            <a:chExt cx="3367984" cy="701525"/>
          </a:xfrm>
        </p:grpSpPr>
        <p:sp>
          <p:nvSpPr>
            <p:cNvPr id="79" name="Rectangle 78"/>
            <p:cNvSpPr/>
            <p:nvPr/>
          </p:nvSpPr>
          <p:spPr>
            <a:xfrm rot="1419869" flipV="1">
              <a:off x="9761358" y="471994"/>
              <a:ext cx="2066661" cy="4571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0" name="Rectangle 79"/>
            <p:cNvSpPr/>
            <p:nvPr/>
          </p:nvSpPr>
          <p:spPr>
            <a:xfrm rot="1419869" flipV="1">
              <a:off x="9487872" y="1097225"/>
              <a:ext cx="2066661" cy="4571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1" name="TextBox 80"/>
            <p:cNvSpPr txBox="1"/>
            <p:nvPr/>
          </p:nvSpPr>
          <p:spPr>
            <a:xfrm rot="1409277">
              <a:off x="8893471" y="441419"/>
              <a:ext cx="3367984" cy="646331"/>
            </a:xfrm>
            <a:prstGeom prst="rect">
              <a:avLst/>
            </a:prstGeom>
            <a:noFill/>
          </p:spPr>
          <p:txBody>
            <a:bodyPr wrap="square" rtlCol="0">
              <a:spAutoFit/>
            </a:bodyPr>
            <a:lstStyle/>
            <a:p>
              <a:pPr algn="ctr"/>
              <a:r>
                <a:rPr lang="en-IE" b="1" dirty="0">
                  <a:solidFill>
                    <a:srgbClr val="FF0000"/>
                  </a:solidFill>
                </a:rPr>
                <a:t>Final Consultation</a:t>
              </a:r>
            </a:p>
            <a:p>
              <a:pPr algn="ctr"/>
              <a:r>
                <a:rPr lang="en-IE" b="1" dirty="0">
                  <a:solidFill>
                    <a:srgbClr val="FF0000"/>
                  </a:solidFill>
                </a:rPr>
                <a:t>currently being finalised</a:t>
              </a:r>
            </a:p>
          </p:txBody>
        </p:sp>
      </p:grpSp>
      <p:grpSp>
        <p:nvGrpSpPr>
          <p:cNvPr id="60" name="Group 59">
            <a:extLst>
              <a:ext uri="{FF2B5EF4-FFF2-40B4-BE49-F238E27FC236}">
                <a16:creationId xmlns:a16="http://schemas.microsoft.com/office/drawing/2014/main" id="{8B58871F-2B09-93D2-11A1-E80D11F463B9}"/>
              </a:ext>
            </a:extLst>
          </p:cNvPr>
          <p:cNvGrpSpPr/>
          <p:nvPr/>
        </p:nvGrpSpPr>
        <p:grpSpPr>
          <a:xfrm>
            <a:off x="512952" y="2067573"/>
            <a:ext cx="4685350" cy="2100812"/>
            <a:chOff x="224861" y="1685388"/>
            <a:chExt cx="5010273" cy="2100812"/>
          </a:xfrm>
        </p:grpSpPr>
        <p:sp>
          <p:nvSpPr>
            <p:cNvPr id="63" name="TextBox 62">
              <a:extLst>
                <a:ext uri="{FF2B5EF4-FFF2-40B4-BE49-F238E27FC236}">
                  <a16:creationId xmlns:a16="http://schemas.microsoft.com/office/drawing/2014/main" id="{981C78B7-B345-FEF0-4FFF-DE40E016F0B8}"/>
                </a:ext>
              </a:extLst>
            </p:cNvPr>
            <p:cNvSpPr txBox="1"/>
            <p:nvPr/>
          </p:nvSpPr>
          <p:spPr>
            <a:xfrm rot="16200000">
              <a:off x="-59934" y="2328461"/>
              <a:ext cx="877367" cy="307777"/>
            </a:xfrm>
            <a:prstGeom prst="rect">
              <a:avLst/>
            </a:prstGeom>
            <a:noFill/>
          </p:spPr>
          <p:txBody>
            <a:bodyPr wrap="square">
              <a:spAutoFit/>
            </a:bodyPr>
            <a:lstStyle/>
            <a:p>
              <a:r>
                <a:rPr lang="en-US" sz="1400" b="0" i="1">
                  <a:solidFill>
                    <a:schemeClr val="tx1">
                      <a:lumMod val="50000"/>
                    </a:schemeClr>
                  </a:solidFill>
                  <a:effectLst/>
                  <a:cs typeface="Arial" panose="020B0604020202020204" pitchFamily="34" charset="0"/>
                </a:rPr>
                <a:t>€‎/kg H</a:t>
              </a:r>
              <a:r>
                <a:rPr lang="en-US" sz="1400" b="0" i="1" baseline="-25000">
                  <a:solidFill>
                    <a:schemeClr val="tx1">
                      <a:lumMod val="50000"/>
                    </a:schemeClr>
                  </a:solidFill>
                  <a:effectLst/>
                  <a:cs typeface="Arial" panose="020B0604020202020204" pitchFamily="34" charset="0"/>
                </a:rPr>
                <a:t>2</a:t>
              </a:r>
              <a:endParaRPr lang="en-US" sz="1400" i="1" baseline="-25000">
                <a:solidFill>
                  <a:schemeClr val="tx1">
                    <a:lumMod val="50000"/>
                  </a:schemeClr>
                </a:solidFill>
                <a:cs typeface="Arial" panose="020B0604020202020204" pitchFamily="34" charset="0"/>
              </a:endParaRPr>
            </a:p>
          </p:txBody>
        </p:sp>
        <p:cxnSp>
          <p:nvCxnSpPr>
            <p:cNvPr id="71" name="Straight Connector 70">
              <a:extLst>
                <a:ext uri="{FF2B5EF4-FFF2-40B4-BE49-F238E27FC236}">
                  <a16:creationId xmlns:a16="http://schemas.microsoft.com/office/drawing/2014/main" id="{4AB85429-137B-A905-A4F3-F0A4AC7EFAC6}"/>
                </a:ext>
              </a:extLst>
            </p:cNvPr>
            <p:cNvCxnSpPr>
              <a:cxnSpLocks/>
            </p:cNvCxnSpPr>
            <p:nvPr/>
          </p:nvCxnSpPr>
          <p:spPr>
            <a:xfrm>
              <a:off x="692509" y="3241548"/>
              <a:ext cx="1933982" cy="0"/>
            </a:xfrm>
            <a:prstGeom prst="line">
              <a:avLst/>
            </a:prstGeom>
            <a:ln w="19050">
              <a:solidFill>
                <a:schemeClr val="tx1">
                  <a:lumMod val="95000"/>
                  <a:lumOff val="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9CCFF14A-A4D3-5BA7-3102-A694E1120898}"/>
                </a:ext>
              </a:extLst>
            </p:cNvPr>
            <p:cNvCxnSpPr>
              <a:cxnSpLocks/>
            </p:cNvCxnSpPr>
            <p:nvPr/>
          </p:nvCxnSpPr>
          <p:spPr>
            <a:xfrm flipH="1">
              <a:off x="1238083" y="1927479"/>
              <a:ext cx="148752" cy="235653"/>
            </a:xfrm>
            <a:prstGeom prst="straightConnector1">
              <a:avLst/>
            </a:prstGeom>
            <a:ln w="19050">
              <a:solidFill>
                <a:schemeClr val="tx2">
                  <a:lumMod val="60000"/>
                  <a:lumOff val="4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389561D-545F-F8B7-ADFA-223B7007C180}"/>
                </a:ext>
              </a:extLst>
            </p:cNvPr>
            <p:cNvCxnSpPr/>
            <p:nvPr/>
          </p:nvCxnSpPr>
          <p:spPr>
            <a:xfrm>
              <a:off x="698350" y="2031182"/>
              <a:ext cx="0" cy="1210366"/>
            </a:xfrm>
            <a:prstGeom prst="line">
              <a:avLst/>
            </a:prstGeom>
            <a:ln w="19050">
              <a:solidFill>
                <a:schemeClr val="tx1">
                  <a:lumMod val="95000"/>
                  <a:lumOff val="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8CBE711A-4630-686D-716C-7363BC1E790A}"/>
                </a:ext>
              </a:extLst>
            </p:cNvPr>
            <p:cNvCxnSpPr>
              <a:cxnSpLocks/>
            </p:cNvCxnSpPr>
            <p:nvPr/>
          </p:nvCxnSpPr>
          <p:spPr>
            <a:xfrm flipH="1" flipV="1">
              <a:off x="985368" y="3296307"/>
              <a:ext cx="218607" cy="167739"/>
            </a:xfrm>
            <a:prstGeom prst="straightConnector1">
              <a:avLst/>
            </a:prstGeom>
            <a:ln w="19050">
              <a:solidFill>
                <a:schemeClr val="tx2">
                  <a:lumMod val="60000"/>
                  <a:lumOff val="4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AD09C2B9-9ED7-873F-8072-9B585002399B}"/>
                </a:ext>
              </a:extLst>
            </p:cNvPr>
            <p:cNvCxnSpPr>
              <a:cxnSpLocks/>
              <a:stCxn id="88" idx="1"/>
            </p:cNvCxnSpPr>
            <p:nvPr/>
          </p:nvCxnSpPr>
          <p:spPr>
            <a:xfrm flipH="1">
              <a:off x="1932490" y="2960708"/>
              <a:ext cx="868839" cy="3634"/>
            </a:xfrm>
            <a:prstGeom prst="straightConnector1">
              <a:avLst/>
            </a:prstGeom>
            <a:ln w="19050">
              <a:solidFill>
                <a:schemeClr val="tx2">
                  <a:lumMod val="60000"/>
                  <a:lumOff val="4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D39C839F-09EB-6FA1-B339-024F7D1289DA}"/>
                </a:ext>
              </a:extLst>
            </p:cNvPr>
            <p:cNvSpPr txBox="1"/>
            <p:nvPr/>
          </p:nvSpPr>
          <p:spPr>
            <a:xfrm>
              <a:off x="935828" y="1685388"/>
              <a:ext cx="1333281" cy="307777"/>
            </a:xfrm>
            <a:prstGeom prst="rect">
              <a:avLst/>
            </a:prstGeom>
            <a:noFill/>
          </p:spPr>
          <p:txBody>
            <a:bodyPr wrap="square">
              <a:spAutoFit/>
            </a:bodyPr>
            <a:lstStyle/>
            <a:p>
              <a:r>
                <a:rPr lang="en-US" sz="1400" dirty="0">
                  <a:solidFill>
                    <a:schemeClr val="tx1">
                      <a:lumMod val="50000"/>
                    </a:schemeClr>
                  </a:solidFill>
                  <a:cs typeface="Arial" panose="020B0604020202020204" pitchFamily="34" charset="0"/>
                </a:rPr>
                <a:t>OPEX</a:t>
              </a:r>
              <a:endParaRPr lang="en-US" sz="1400" baseline="-25000" dirty="0">
                <a:solidFill>
                  <a:schemeClr val="tx1">
                    <a:lumMod val="50000"/>
                  </a:schemeClr>
                </a:solidFill>
                <a:cs typeface="Arial" panose="020B0604020202020204" pitchFamily="34" charset="0"/>
              </a:endParaRPr>
            </a:p>
          </p:txBody>
        </p:sp>
        <p:sp>
          <p:nvSpPr>
            <p:cNvPr id="87" name="TextBox 86">
              <a:extLst>
                <a:ext uri="{FF2B5EF4-FFF2-40B4-BE49-F238E27FC236}">
                  <a16:creationId xmlns:a16="http://schemas.microsoft.com/office/drawing/2014/main" id="{03EBE21D-9A15-6523-2D49-30DAA077B47E}"/>
                </a:ext>
              </a:extLst>
            </p:cNvPr>
            <p:cNvSpPr txBox="1"/>
            <p:nvPr/>
          </p:nvSpPr>
          <p:spPr>
            <a:xfrm>
              <a:off x="835827" y="3478423"/>
              <a:ext cx="1647345" cy="307777"/>
            </a:xfrm>
            <a:prstGeom prst="rect">
              <a:avLst/>
            </a:prstGeom>
            <a:noFill/>
          </p:spPr>
          <p:txBody>
            <a:bodyPr wrap="square">
              <a:spAutoFit/>
            </a:bodyPr>
            <a:lstStyle/>
            <a:p>
              <a:r>
                <a:rPr lang="en-US" sz="1400" dirty="0">
                  <a:solidFill>
                    <a:schemeClr val="tx1">
                      <a:lumMod val="50000"/>
                    </a:schemeClr>
                  </a:solidFill>
                  <a:cs typeface="Arial" panose="020B0604020202020204" pitchFamily="34" charset="0"/>
                </a:rPr>
                <a:t>CAPEX</a:t>
              </a:r>
              <a:endParaRPr lang="en-US" sz="1400" baseline="-25000" dirty="0">
                <a:solidFill>
                  <a:schemeClr val="tx1">
                    <a:lumMod val="50000"/>
                  </a:schemeClr>
                </a:solidFill>
                <a:cs typeface="Arial" panose="020B0604020202020204" pitchFamily="34" charset="0"/>
              </a:endParaRPr>
            </a:p>
          </p:txBody>
        </p:sp>
        <p:sp>
          <p:nvSpPr>
            <p:cNvPr id="88" name="TextBox 87">
              <a:extLst>
                <a:ext uri="{FF2B5EF4-FFF2-40B4-BE49-F238E27FC236}">
                  <a16:creationId xmlns:a16="http://schemas.microsoft.com/office/drawing/2014/main" id="{49D8DFF3-CC61-640D-E61F-536EEE72133B}"/>
                </a:ext>
              </a:extLst>
            </p:cNvPr>
            <p:cNvSpPr txBox="1"/>
            <p:nvPr/>
          </p:nvSpPr>
          <p:spPr>
            <a:xfrm>
              <a:off x="2801329" y="2699098"/>
              <a:ext cx="2433805" cy="523220"/>
            </a:xfrm>
            <a:prstGeom prst="rect">
              <a:avLst/>
            </a:prstGeom>
            <a:noFill/>
          </p:spPr>
          <p:txBody>
            <a:bodyPr wrap="square">
              <a:spAutoFit/>
            </a:bodyPr>
            <a:lstStyle/>
            <a:p>
              <a:r>
                <a:rPr lang="en-US" sz="1400" dirty="0">
                  <a:solidFill>
                    <a:schemeClr val="tx1">
                      <a:lumMod val="50000"/>
                    </a:schemeClr>
                  </a:solidFill>
                  <a:cs typeface="Arial" panose="020B0604020202020204" pitchFamily="34" charset="0"/>
                </a:rPr>
                <a:t>hydrogen</a:t>
              </a:r>
              <a:r>
                <a:rPr lang="en-US" sz="1400" dirty="0">
                  <a:solidFill>
                    <a:schemeClr val="tx1">
                      <a:lumMod val="50000"/>
                    </a:schemeClr>
                  </a:solidFill>
                  <a:effectLst/>
                  <a:cs typeface="Arial" panose="020B0604020202020204" pitchFamily="34" charset="0"/>
                </a:rPr>
                <a:t> sales revenue, including green premium</a:t>
              </a:r>
              <a:endParaRPr lang="en-US" sz="1400" baseline="-25000" dirty="0">
                <a:solidFill>
                  <a:schemeClr val="tx1">
                    <a:lumMod val="50000"/>
                  </a:schemeClr>
                </a:solidFill>
                <a:cs typeface="Arial" panose="020B0604020202020204" pitchFamily="34" charset="0"/>
              </a:endParaRPr>
            </a:p>
          </p:txBody>
        </p:sp>
      </p:grpSp>
      <p:sp>
        <p:nvSpPr>
          <p:cNvPr id="89" name="Rectangle 88"/>
          <p:cNvSpPr/>
          <p:nvPr/>
        </p:nvSpPr>
        <p:spPr>
          <a:xfrm>
            <a:off x="1044832" y="2522612"/>
            <a:ext cx="366098" cy="780629"/>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0" name="Rectangle 89"/>
          <p:cNvSpPr/>
          <p:nvPr/>
        </p:nvSpPr>
        <p:spPr>
          <a:xfrm>
            <a:off x="1042771" y="3310279"/>
            <a:ext cx="370220" cy="302585"/>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1" name="Rectangle 90"/>
          <p:cNvSpPr/>
          <p:nvPr/>
        </p:nvSpPr>
        <p:spPr>
          <a:xfrm>
            <a:off x="1688614" y="3090167"/>
            <a:ext cx="366098" cy="530885"/>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2" name="Rectangle 91"/>
          <p:cNvSpPr/>
          <p:nvPr/>
        </p:nvSpPr>
        <p:spPr>
          <a:xfrm>
            <a:off x="2055636" y="2522041"/>
            <a:ext cx="366098" cy="552184"/>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7" name="TextBox 106">
            <a:extLst>
              <a:ext uri="{FF2B5EF4-FFF2-40B4-BE49-F238E27FC236}">
                <a16:creationId xmlns:a16="http://schemas.microsoft.com/office/drawing/2014/main" id="{D39C839F-09EB-6FA1-B339-024F7D1289DA}"/>
              </a:ext>
            </a:extLst>
          </p:cNvPr>
          <p:cNvSpPr txBox="1"/>
          <p:nvPr/>
        </p:nvSpPr>
        <p:spPr>
          <a:xfrm>
            <a:off x="1028459" y="2793345"/>
            <a:ext cx="400110" cy="647618"/>
          </a:xfrm>
          <a:prstGeom prst="rect">
            <a:avLst/>
          </a:prstGeom>
          <a:noFill/>
        </p:spPr>
        <p:txBody>
          <a:bodyPr vert="vert270" wrap="square">
            <a:spAutoFit/>
          </a:bodyPr>
          <a:lstStyle/>
          <a:p>
            <a:r>
              <a:rPr lang="en-US" sz="1400" dirty="0">
                <a:solidFill>
                  <a:schemeClr val="tx1">
                    <a:lumMod val="50000"/>
                  </a:schemeClr>
                </a:solidFill>
                <a:cs typeface="Arial" panose="020B0604020202020204" pitchFamily="34" charset="0"/>
              </a:rPr>
              <a:t>LCOH</a:t>
            </a:r>
            <a:endParaRPr lang="en-US" sz="1400" baseline="-25000" dirty="0">
              <a:solidFill>
                <a:schemeClr val="tx1">
                  <a:lumMod val="50000"/>
                </a:schemeClr>
              </a:solidFill>
              <a:cs typeface="Arial" panose="020B0604020202020204" pitchFamily="34" charset="0"/>
            </a:endParaRPr>
          </a:p>
        </p:txBody>
      </p:sp>
      <p:sp>
        <p:nvSpPr>
          <p:cNvPr id="108" name="TextBox 107">
            <a:extLst>
              <a:ext uri="{FF2B5EF4-FFF2-40B4-BE49-F238E27FC236}">
                <a16:creationId xmlns:a16="http://schemas.microsoft.com/office/drawing/2014/main" id="{49D8DFF3-CC61-640D-E61F-536EEE72133B}"/>
              </a:ext>
            </a:extLst>
          </p:cNvPr>
          <p:cNvSpPr txBox="1"/>
          <p:nvPr/>
        </p:nvSpPr>
        <p:spPr>
          <a:xfrm>
            <a:off x="2956565" y="2304159"/>
            <a:ext cx="2356341" cy="523220"/>
          </a:xfrm>
          <a:prstGeom prst="rect">
            <a:avLst/>
          </a:prstGeom>
          <a:noFill/>
        </p:spPr>
        <p:txBody>
          <a:bodyPr wrap="square">
            <a:spAutoFit/>
          </a:bodyPr>
          <a:lstStyle/>
          <a:p>
            <a:r>
              <a:rPr lang="en-US" sz="1400" dirty="0">
                <a:solidFill>
                  <a:schemeClr val="tx1">
                    <a:lumMod val="50000"/>
                  </a:schemeClr>
                </a:solidFill>
                <a:cs typeface="Arial" panose="020B0604020202020204" pitchFamily="34" charset="0"/>
              </a:rPr>
              <a:t>Need for subsidy: premium sought in the auctions</a:t>
            </a:r>
            <a:endParaRPr lang="en-US" sz="1400" baseline="-25000" dirty="0">
              <a:solidFill>
                <a:schemeClr val="tx1">
                  <a:lumMod val="50000"/>
                </a:schemeClr>
              </a:solidFill>
              <a:cs typeface="Arial" panose="020B0604020202020204" pitchFamily="34" charset="0"/>
            </a:endParaRPr>
          </a:p>
        </p:txBody>
      </p:sp>
      <p:cxnSp>
        <p:nvCxnSpPr>
          <p:cNvPr id="109" name="Straight Arrow Connector 108">
            <a:extLst>
              <a:ext uri="{FF2B5EF4-FFF2-40B4-BE49-F238E27FC236}">
                <a16:creationId xmlns:a16="http://schemas.microsoft.com/office/drawing/2014/main" id="{AD09C2B9-9ED7-873F-8072-9B585002399B}"/>
              </a:ext>
            </a:extLst>
          </p:cNvPr>
          <p:cNvCxnSpPr>
            <a:cxnSpLocks/>
          </p:cNvCxnSpPr>
          <p:nvPr/>
        </p:nvCxnSpPr>
        <p:spPr>
          <a:xfrm flipH="1">
            <a:off x="2457442" y="2725288"/>
            <a:ext cx="524902" cy="136933"/>
          </a:xfrm>
          <a:prstGeom prst="straightConnector1">
            <a:avLst/>
          </a:prstGeom>
          <a:ln w="19050">
            <a:solidFill>
              <a:schemeClr val="tx2">
                <a:lumMod val="60000"/>
                <a:lumOff val="40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003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sz="3200"/>
              <a:t>Look into the future: potential to expand auctions beyond hydrogen sector, and as a service for Member States</a:t>
            </a:r>
          </a:p>
        </p:txBody>
      </p:sp>
      <p:sp>
        <p:nvSpPr>
          <p:cNvPr id="5" name="TextBox 4"/>
          <p:cNvSpPr txBox="1"/>
          <p:nvPr/>
        </p:nvSpPr>
        <p:spPr>
          <a:xfrm>
            <a:off x="841514" y="1854199"/>
            <a:ext cx="3641033" cy="444737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IE" sz="1600" dirty="0"/>
              <a:t>H2 Strategy communication proposes to offer an EU-wide auction mechanism through </a:t>
            </a:r>
            <a:r>
              <a:rPr lang="en-IE" sz="1600" u="sng" dirty="0"/>
              <a:t>“auctions-as-a-service”.</a:t>
            </a:r>
          </a:p>
          <a:p>
            <a:pPr marL="285750" indent="-285750">
              <a:spcAft>
                <a:spcPts val="600"/>
              </a:spcAft>
              <a:buFont typeface="Arial" panose="020B0604020202020204" pitchFamily="34" charset="0"/>
              <a:buChar char="•"/>
            </a:pPr>
            <a:r>
              <a:rPr lang="en-IE" sz="1600" dirty="0"/>
              <a:t>Member States can clear projects that are outside of the IF budget. </a:t>
            </a:r>
          </a:p>
          <a:p>
            <a:pPr marL="285750" indent="-285750">
              <a:spcAft>
                <a:spcPts val="600"/>
              </a:spcAft>
              <a:buFont typeface="Arial" panose="020B0604020202020204" pitchFamily="34" charset="0"/>
              <a:buChar char="•"/>
            </a:pPr>
            <a:r>
              <a:rPr lang="en-IE" sz="1600" dirty="0"/>
              <a:t>Less market fragmentation, less administrative cost</a:t>
            </a:r>
          </a:p>
          <a:p>
            <a:pPr marL="285750" indent="-285750">
              <a:spcAft>
                <a:spcPts val="600"/>
              </a:spcAft>
              <a:buFont typeface="Arial" panose="020B0604020202020204" pitchFamily="34" charset="0"/>
              <a:buChar char="•"/>
            </a:pPr>
            <a:r>
              <a:rPr lang="en-IE" sz="1600" dirty="0"/>
              <a:t>Work with DG COMP as national schemes subject to State Aid rules. </a:t>
            </a:r>
          </a:p>
          <a:p>
            <a:pPr marL="285750" indent="-285750">
              <a:spcAft>
                <a:spcPts val="600"/>
              </a:spcAft>
              <a:buFont typeface="Arial" panose="020B0604020202020204" pitchFamily="34" charset="0"/>
              <a:buChar char="•"/>
            </a:pPr>
            <a:r>
              <a:rPr lang="en-IE" sz="1600" dirty="0"/>
              <a:t>Auctions concept – if successful – could be </a:t>
            </a:r>
            <a:r>
              <a:rPr lang="en-IE" sz="1600" u="sng" dirty="0"/>
              <a:t>extended to other sectors</a:t>
            </a:r>
            <a:r>
              <a:rPr lang="en-IE" sz="1600" dirty="0"/>
              <a:t>, such as clean-tech manufacturing and industry decarbonisation. </a:t>
            </a:r>
          </a:p>
          <a:p>
            <a:pPr marL="285750" indent="-285750">
              <a:spcAft>
                <a:spcPts val="600"/>
              </a:spcAft>
              <a:buFont typeface="Arial" panose="020B0604020202020204" pitchFamily="34" charset="0"/>
              <a:buChar char="•"/>
            </a:pPr>
            <a:endParaRPr lang="en-IE" dirty="0"/>
          </a:p>
        </p:txBody>
      </p:sp>
      <p:pic>
        <p:nvPicPr>
          <p:cNvPr id="2" name="Picture 1"/>
          <p:cNvPicPr>
            <a:picLocks noChangeAspect="1"/>
          </p:cNvPicPr>
          <p:nvPr/>
        </p:nvPicPr>
        <p:blipFill>
          <a:blip r:embed="rId2"/>
          <a:stretch>
            <a:fillRect/>
          </a:stretch>
        </p:blipFill>
        <p:spPr>
          <a:xfrm>
            <a:off x="4611283" y="1854199"/>
            <a:ext cx="6991071" cy="3830863"/>
          </a:xfrm>
          <a:prstGeom prst="rect">
            <a:avLst/>
          </a:prstGeom>
        </p:spPr>
      </p:pic>
    </p:spTree>
    <p:extLst>
      <p:ext uri="{BB962C8B-B14F-4D97-AF65-F5344CB8AC3E}">
        <p14:creationId xmlns:p14="http://schemas.microsoft.com/office/powerpoint/2010/main" val="1040342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198" y="1551774"/>
            <a:ext cx="11268961" cy="4791844"/>
          </a:xfrm>
        </p:spPr>
        <p:txBody>
          <a:bodyPr lIns="91440" tIns="45720" rIns="91440" bIns="45720" anchor="t">
            <a:noAutofit/>
          </a:bodyPr>
          <a:lstStyle/>
          <a:p>
            <a:pPr marL="0" indent="0">
              <a:spcAft>
                <a:spcPts val="600"/>
              </a:spcAft>
              <a:buNone/>
            </a:pPr>
            <a:r>
              <a:rPr lang="en-GB" sz="1800" dirty="0">
                <a:solidFill>
                  <a:srgbClr val="7030A0"/>
                </a:solidFill>
              </a:rPr>
              <a:t>30 March		3</a:t>
            </a:r>
            <a:r>
              <a:rPr lang="en-GB" sz="1800" baseline="30000" dirty="0">
                <a:solidFill>
                  <a:srgbClr val="7030A0"/>
                </a:solidFill>
              </a:rPr>
              <a:t>rd</a:t>
            </a:r>
            <a:r>
              <a:rPr lang="en-GB" sz="1800" dirty="0">
                <a:solidFill>
                  <a:srgbClr val="7030A0"/>
                </a:solidFill>
              </a:rPr>
              <a:t> call for small scale projects opens</a:t>
            </a:r>
          </a:p>
          <a:p>
            <a:pPr marL="0" indent="0">
              <a:spcAft>
                <a:spcPts val="600"/>
              </a:spcAft>
              <a:buNone/>
            </a:pPr>
            <a:r>
              <a:rPr lang="en-GB" sz="1800" dirty="0">
                <a:solidFill>
                  <a:schemeClr val="accent4"/>
                </a:solidFill>
              </a:rPr>
              <a:t>31 March 		Publication of auctions’ T&amp;C for stakeholders’ feedback</a:t>
            </a:r>
            <a:endParaRPr lang="en-GB" sz="1800" dirty="0">
              <a:solidFill>
                <a:schemeClr val="accent4"/>
              </a:solidFill>
              <a:cs typeface="Arial"/>
            </a:endParaRPr>
          </a:p>
          <a:p>
            <a:pPr marL="0" indent="0">
              <a:spcAft>
                <a:spcPts val="600"/>
              </a:spcAft>
              <a:buNone/>
            </a:pPr>
            <a:r>
              <a:rPr lang="en-GB" sz="1800" dirty="0">
                <a:solidFill>
                  <a:srgbClr val="7030A0"/>
                </a:solidFill>
              </a:rPr>
              <a:t>20 April			Info Day 3</a:t>
            </a:r>
            <a:r>
              <a:rPr lang="en-GB" sz="1800" baseline="30000" dirty="0">
                <a:solidFill>
                  <a:srgbClr val="7030A0"/>
                </a:solidFill>
              </a:rPr>
              <a:t>rd</a:t>
            </a:r>
            <a:r>
              <a:rPr lang="en-GB" sz="1800" dirty="0">
                <a:solidFill>
                  <a:srgbClr val="7030A0"/>
                </a:solidFill>
              </a:rPr>
              <a:t> call for small scale projects</a:t>
            </a:r>
            <a:endParaRPr lang="en-GB" sz="1800" dirty="0">
              <a:solidFill>
                <a:srgbClr val="7030A0"/>
              </a:solidFill>
              <a:cs typeface="Arial"/>
            </a:endParaRPr>
          </a:p>
          <a:p>
            <a:pPr marL="0" indent="0">
              <a:spcAft>
                <a:spcPts val="600"/>
              </a:spcAft>
              <a:buNone/>
            </a:pPr>
            <a:r>
              <a:rPr lang="en-GB" sz="1800" dirty="0">
                <a:solidFill>
                  <a:schemeClr val="accent4"/>
                </a:solidFill>
              </a:rPr>
              <a:t>16 May 			Workshop on stakeholder feedback on pilot auctions’ T&amp;C</a:t>
            </a:r>
          </a:p>
          <a:p>
            <a:pPr marL="0" indent="0">
              <a:spcAft>
                <a:spcPts val="600"/>
              </a:spcAft>
              <a:buNone/>
            </a:pPr>
            <a:r>
              <a:rPr lang="en-GB" sz="1800" dirty="0">
                <a:solidFill>
                  <a:schemeClr val="accent4"/>
                </a:solidFill>
              </a:rPr>
              <a:t>26 May 			Workshop with Member States on “auctions as a service”</a:t>
            </a:r>
            <a:endParaRPr lang="en-GB" sz="1800" dirty="0">
              <a:solidFill>
                <a:schemeClr val="accent4"/>
              </a:solidFill>
              <a:cs typeface="Arial"/>
            </a:endParaRPr>
          </a:p>
          <a:p>
            <a:pPr marL="0" indent="0">
              <a:spcAft>
                <a:spcPts val="600"/>
              </a:spcAft>
              <a:buNone/>
            </a:pPr>
            <a:r>
              <a:rPr lang="en-GB" sz="1800" dirty="0">
                <a:solidFill>
                  <a:srgbClr val="7030A0"/>
                </a:solidFill>
              </a:rPr>
              <a:t>13 June 			Workshop on next calls and auctions</a:t>
            </a:r>
            <a:endParaRPr lang="en-GB" sz="1800" dirty="0">
              <a:solidFill>
                <a:srgbClr val="7030A0"/>
              </a:solidFill>
              <a:cs typeface="Arial"/>
            </a:endParaRPr>
          </a:p>
          <a:p>
            <a:pPr marL="0" indent="0">
              <a:spcAft>
                <a:spcPts val="600"/>
              </a:spcAft>
              <a:buNone/>
            </a:pPr>
            <a:r>
              <a:rPr lang="en-GB" sz="1800" dirty="0">
                <a:solidFill>
                  <a:srgbClr val="7030A0"/>
                </a:solidFill>
              </a:rPr>
              <a:t>4 July			Workshop on Small Scale Call for proposals</a:t>
            </a:r>
            <a:endParaRPr lang="en-GB" sz="1800" dirty="0">
              <a:solidFill>
                <a:srgbClr val="7030A0"/>
              </a:solidFill>
              <a:cs typeface="Arial"/>
            </a:endParaRPr>
          </a:p>
          <a:p>
            <a:pPr marL="0" indent="0">
              <a:spcAft>
                <a:spcPts val="600"/>
              </a:spcAft>
              <a:buNone/>
            </a:pPr>
            <a:r>
              <a:rPr lang="en-GB" sz="1800" dirty="0">
                <a:solidFill>
                  <a:srgbClr val="7030A0"/>
                </a:solidFill>
              </a:rPr>
              <a:t>July 		            	Results of 3 LSC evaluation</a:t>
            </a:r>
            <a:endParaRPr lang="en-GB" sz="1800" dirty="0">
              <a:solidFill>
                <a:srgbClr val="7030A0"/>
              </a:solidFill>
              <a:cs typeface="Arial"/>
            </a:endParaRPr>
          </a:p>
          <a:p>
            <a:pPr marL="0" indent="0">
              <a:spcAft>
                <a:spcPts val="600"/>
              </a:spcAft>
              <a:buNone/>
            </a:pPr>
            <a:r>
              <a:rPr lang="en-GB" sz="1800" dirty="0">
                <a:solidFill>
                  <a:schemeClr val="accent4"/>
                </a:solidFill>
              </a:rPr>
              <a:t>Early September		</a:t>
            </a:r>
            <a:r>
              <a:rPr lang="en-IE" sz="1800" dirty="0">
                <a:solidFill>
                  <a:schemeClr val="accent4"/>
                </a:solidFill>
              </a:rPr>
              <a:t>Auctions - Final Terms and Conditions published</a:t>
            </a:r>
            <a:endParaRPr lang="en-IE" sz="1800" dirty="0">
              <a:solidFill>
                <a:schemeClr val="accent4"/>
              </a:solidFill>
              <a:cs typeface="Arial"/>
            </a:endParaRPr>
          </a:p>
          <a:p>
            <a:pPr marL="0" indent="0">
              <a:spcAft>
                <a:spcPts val="600"/>
              </a:spcAft>
              <a:buNone/>
            </a:pPr>
            <a:r>
              <a:rPr lang="en-GB" sz="1800" dirty="0">
                <a:solidFill>
                  <a:srgbClr val="7030A0"/>
                </a:solidFill>
              </a:rPr>
              <a:t>19 September		Deadline 3rd small-scale call</a:t>
            </a:r>
            <a:endParaRPr lang="en-GB" sz="1800" dirty="0">
              <a:solidFill>
                <a:srgbClr val="7030A0"/>
              </a:solidFill>
              <a:cs typeface="Arial"/>
            </a:endParaRPr>
          </a:p>
          <a:p>
            <a:pPr marL="0" indent="0">
              <a:spcAft>
                <a:spcPts val="600"/>
              </a:spcAft>
              <a:buNone/>
            </a:pPr>
            <a:r>
              <a:rPr lang="en-GB" sz="1800" dirty="0">
                <a:solidFill>
                  <a:schemeClr val="accent4"/>
                </a:solidFill>
              </a:rPr>
              <a:t>December		First pilot auction launched</a:t>
            </a:r>
            <a:endParaRPr lang="en-GB" sz="1800" dirty="0">
              <a:solidFill>
                <a:schemeClr val="accent4"/>
              </a:solidFill>
              <a:cs typeface="Arial"/>
            </a:endParaRPr>
          </a:p>
          <a:p>
            <a:pPr marL="0" indent="0">
              <a:spcAft>
                <a:spcPts val="600"/>
              </a:spcAft>
              <a:buNone/>
            </a:pPr>
            <a:r>
              <a:rPr lang="en-GB" sz="1800" dirty="0">
                <a:solidFill>
                  <a:srgbClr val="7030A0"/>
                </a:solidFill>
              </a:rPr>
              <a:t>TBC			4</a:t>
            </a:r>
            <a:r>
              <a:rPr lang="en-GB" sz="1800" baseline="30000" dirty="0">
                <a:solidFill>
                  <a:srgbClr val="7030A0"/>
                </a:solidFill>
              </a:rPr>
              <a:t>th</a:t>
            </a:r>
            <a:r>
              <a:rPr lang="en-GB" sz="1800" dirty="0">
                <a:solidFill>
                  <a:srgbClr val="7030A0"/>
                </a:solidFill>
              </a:rPr>
              <a:t> Calls for proposals for grants launched</a:t>
            </a:r>
            <a:endParaRPr lang="en-GB" sz="1800" dirty="0">
              <a:solidFill>
                <a:srgbClr val="7030A0"/>
              </a:solidFill>
              <a:cs typeface="Arial"/>
            </a:endParaRPr>
          </a:p>
          <a:p>
            <a:pPr>
              <a:spcAft>
                <a:spcPts val="600"/>
              </a:spcAft>
            </a:pPr>
            <a:endParaRPr lang="en-GB" sz="1800" dirty="0">
              <a:solidFill>
                <a:schemeClr val="tx2"/>
              </a:solidFill>
            </a:endParaRPr>
          </a:p>
        </p:txBody>
      </p:sp>
      <p:sp>
        <p:nvSpPr>
          <p:cNvPr id="3" name="Title 2"/>
          <p:cNvSpPr>
            <a:spLocks noGrp="1"/>
          </p:cNvSpPr>
          <p:nvPr>
            <p:ph type="title"/>
          </p:nvPr>
        </p:nvSpPr>
        <p:spPr>
          <a:xfrm>
            <a:off x="838198" y="59685"/>
            <a:ext cx="10177442" cy="782357"/>
          </a:xfrm>
        </p:spPr>
        <p:txBody>
          <a:bodyPr/>
          <a:lstStyle/>
          <a:p>
            <a:r>
              <a:rPr lang="en-IE"/>
              <a:t>Implementation Timeline 2023</a:t>
            </a:r>
            <a:endParaRPr lang="fr-BE"/>
          </a:p>
        </p:txBody>
      </p:sp>
      <p:grpSp>
        <p:nvGrpSpPr>
          <p:cNvPr id="9" name="Group 8"/>
          <p:cNvGrpSpPr/>
          <p:nvPr/>
        </p:nvGrpSpPr>
        <p:grpSpPr>
          <a:xfrm>
            <a:off x="8942773" y="240531"/>
            <a:ext cx="2880942" cy="1018991"/>
            <a:chOff x="8605382" y="357600"/>
            <a:chExt cx="2880942" cy="1287744"/>
          </a:xfrm>
        </p:grpSpPr>
        <p:sp>
          <p:nvSpPr>
            <p:cNvPr id="4" name="Rectangle 3"/>
            <p:cNvSpPr/>
            <p:nvPr/>
          </p:nvSpPr>
          <p:spPr>
            <a:xfrm>
              <a:off x="8993645" y="479866"/>
              <a:ext cx="234536" cy="265706"/>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TextBox 5"/>
            <p:cNvSpPr txBox="1"/>
            <p:nvPr/>
          </p:nvSpPr>
          <p:spPr>
            <a:xfrm>
              <a:off x="9457105" y="376241"/>
              <a:ext cx="2029217" cy="369332"/>
            </a:xfrm>
            <a:prstGeom prst="rect">
              <a:avLst/>
            </a:prstGeom>
            <a:noFill/>
          </p:spPr>
          <p:txBody>
            <a:bodyPr wrap="square" rtlCol="0">
              <a:spAutoFit/>
            </a:bodyPr>
            <a:lstStyle/>
            <a:p>
              <a:r>
                <a:rPr lang="en-IE">
                  <a:solidFill>
                    <a:schemeClr val="accent4"/>
                  </a:solidFill>
                </a:rPr>
                <a:t>Auctions</a:t>
              </a:r>
            </a:p>
          </p:txBody>
        </p:sp>
        <p:sp>
          <p:nvSpPr>
            <p:cNvPr id="7" name="TextBox 6"/>
            <p:cNvSpPr txBox="1"/>
            <p:nvPr/>
          </p:nvSpPr>
          <p:spPr>
            <a:xfrm>
              <a:off x="9457105" y="974116"/>
              <a:ext cx="2029217" cy="466741"/>
            </a:xfrm>
            <a:prstGeom prst="rect">
              <a:avLst/>
            </a:prstGeom>
            <a:noFill/>
          </p:spPr>
          <p:txBody>
            <a:bodyPr wrap="square" rtlCol="0">
              <a:spAutoFit/>
            </a:bodyPr>
            <a:lstStyle/>
            <a:p>
              <a:r>
                <a:rPr lang="en-IE" dirty="0">
                  <a:solidFill>
                    <a:srgbClr val="7030A0"/>
                  </a:solidFill>
                </a:rPr>
                <a:t>Grants</a:t>
              </a:r>
            </a:p>
          </p:txBody>
        </p:sp>
        <p:sp>
          <p:nvSpPr>
            <p:cNvPr id="8" name="Rectangle 7"/>
            <p:cNvSpPr/>
            <p:nvPr/>
          </p:nvSpPr>
          <p:spPr>
            <a:xfrm>
              <a:off x="8605382" y="357600"/>
              <a:ext cx="2880942" cy="12877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sp>
        <p:nvSpPr>
          <p:cNvPr id="10" name="Rectangle 9">
            <a:extLst>
              <a:ext uri="{FF2B5EF4-FFF2-40B4-BE49-F238E27FC236}">
                <a16:creationId xmlns:a16="http://schemas.microsoft.com/office/drawing/2014/main" id="{3E152424-9917-0DC2-D3BE-91CC8EC29A91}"/>
              </a:ext>
            </a:extLst>
          </p:cNvPr>
          <p:cNvSpPr/>
          <p:nvPr/>
        </p:nvSpPr>
        <p:spPr>
          <a:xfrm flipV="1">
            <a:off x="9331036" y="812872"/>
            <a:ext cx="234536" cy="210016"/>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8980258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1234EC-BE8B-4A42-AADB-F5C1147587FD}"/>
              </a:ext>
            </a:extLst>
          </p:cNvPr>
          <p:cNvSpPr>
            <a:spLocks noGrp="1"/>
          </p:cNvSpPr>
          <p:nvPr>
            <p:ph type="title"/>
          </p:nvPr>
        </p:nvSpPr>
        <p:spPr/>
        <p:txBody>
          <a:bodyPr/>
          <a:lstStyle/>
          <a:p>
            <a:r>
              <a:rPr lang="en-GB">
                <a:solidFill>
                  <a:srgbClr val="034EA2"/>
                </a:solidFill>
                <a:latin typeface="EC Square Sans Pro" panose="020B0506040000020004" pitchFamily="34" charset="0"/>
              </a:rPr>
              <a:t>Where to find more information? </a:t>
            </a:r>
            <a:r>
              <a:rPr lang="en-US" sz="3200" b="1" i="1">
                <a:solidFill>
                  <a:schemeClr val="accent6"/>
                </a:solidFill>
                <a:latin typeface="EC Square Sans Pro" panose="020B0506040000020004" pitchFamily="34" charset="0"/>
                <a:ea typeface="Verdana" panose="020B0604030504040204" pitchFamily="34" charset="0"/>
                <a:cs typeface="Verdana" panose="020B0604030504040204" pitchFamily="34" charset="0"/>
              </a:rPr>
              <a:t> </a:t>
            </a:r>
            <a:endParaRPr lang="en-BE">
              <a:latin typeface="EC Square Sans Pro" panose="020B0506040000020004" pitchFamily="34" charset="0"/>
            </a:endParaRPr>
          </a:p>
        </p:txBody>
      </p:sp>
      <p:sp>
        <p:nvSpPr>
          <p:cNvPr id="64" name="TextBox 63">
            <a:extLst>
              <a:ext uri="{FF2B5EF4-FFF2-40B4-BE49-F238E27FC236}">
                <a16:creationId xmlns:a16="http://schemas.microsoft.com/office/drawing/2014/main" id="{57DBEA7F-6107-3144-906F-2103F273FCE7}"/>
              </a:ext>
            </a:extLst>
          </p:cNvPr>
          <p:cNvSpPr txBox="1"/>
          <p:nvPr/>
        </p:nvSpPr>
        <p:spPr>
          <a:xfrm>
            <a:off x="1854491" y="1635075"/>
            <a:ext cx="3609702" cy="54200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D4D4D"/>
                </a:solidFill>
                <a:effectLst/>
                <a:uLnTx/>
                <a:uFillTx/>
                <a:latin typeface="EC Square Sans Pro" panose="020B0506040000020004" pitchFamily="34" charset="0"/>
                <a:ea typeface="+mn-ea"/>
                <a:cs typeface="Arial" panose="020B0604020202020204" pitchFamily="34" charset="0"/>
              </a:rPr>
              <a:t>All (past) call documents available on the Funding and Tenders Portal including:</a:t>
            </a:r>
          </a:p>
        </p:txBody>
      </p:sp>
      <p:sp>
        <p:nvSpPr>
          <p:cNvPr id="65" name="Text Placeholder 32">
            <a:extLst>
              <a:ext uri="{FF2B5EF4-FFF2-40B4-BE49-F238E27FC236}">
                <a16:creationId xmlns:a16="http://schemas.microsoft.com/office/drawing/2014/main" id="{6453B534-1919-2F43-A2D8-D7ED0C78BE89}"/>
              </a:ext>
            </a:extLst>
          </p:cNvPr>
          <p:cNvSpPr txBox="1">
            <a:spLocks/>
          </p:cNvSpPr>
          <p:nvPr/>
        </p:nvSpPr>
        <p:spPr>
          <a:xfrm>
            <a:off x="1854491" y="2347182"/>
            <a:ext cx="4450212" cy="670921"/>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50000"/>
              </a:lnSpc>
              <a:spcBef>
                <a:spcPts val="750"/>
              </a:spcBef>
              <a:spcAft>
                <a:spcPts val="0"/>
              </a:spcAft>
              <a:buClrTx/>
              <a:buSzTx/>
              <a:buFont typeface="Wingdings" pitchFamily="2" charset="2"/>
              <a:buChar char="ü"/>
              <a:tabLst/>
              <a:defRPr/>
            </a:pPr>
            <a:r>
              <a:rPr kumimoji="0" lang="en-US" sz="1200" b="0" i="0" u="none" strike="noStrike" kern="1200" cap="none" spc="0" normalizeH="0" baseline="0" noProof="0">
                <a:ln>
                  <a:noFill/>
                </a:ln>
                <a:solidFill>
                  <a:srgbClr val="656D78"/>
                </a:solidFill>
                <a:effectLst/>
                <a:uLnTx/>
                <a:uFillTx/>
                <a:latin typeface="EC Square Sans Pro" panose="020B0506040000020004" pitchFamily="34" charset="0"/>
                <a:ea typeface="Roboto Light" panose="02000000000000000000" pitchFamily="2" charset="0"/>
                <a:cs typeface="Roboto Light" panose="02000000000000000000" pitchFamily="2" charset="0"/>
              </a:rPr>
              <a:t>Guidance and calculation tools on GHG emissions and relevant costs</a:t>
            </a:r>
          </a:p>
          <a:p>
            <a:pPr marL="171450" marR="0" lvl="0" indent="-171450" algn="l" defTabSz="685800" rtl="0" eaLnBrk="1" fontAlgn="auto" latinLnBrk="0" hangingPunct="1">
              <a:lnSpc>
                <a:spcPct val="150000"/>
              </a:lnSpc>
              <a:spcBef>
                <a:spcPts val="750"/>
              </a:spcBef>
              <a:spcAft>
                <a:spcPts val="0"/>
              </a:spcAft>
              <a:buClrTx/>
              <a:buSzTx/>
              <a:buFont typeface="Wingdings" pitchFamily="2" charset="2"/>
              <a:buChar char="ü"/>
              <a:tabLst/>
              <a:defRPr/>
            </a:pPr>
            <a:r>
              <a:rPr kumimoji="0" lang="en-US" sz="1200" b="0" i="0" u="none" strike="noStrike" kern="1200" cap="none" spc="0" normalizeH="0" baseline="0" noProof="0">
                <a:ln>
                  <a:noFill/>
                </a:ln>
                <a:solidFill>
                  <a:srgbClr val="656D78"/>
                </a:solidFill>
                <a:effectLst/>
                <a:uLnTx/>
                <a:uFillTx/>
                <a:latin typeface="EC Square Sans Pro" panose="020B0506040000020004" pitchFamily="34" charset="0"/>
                <a:ea typeface="Roboto Light" panose="02000000000000000000" pitchFamily="2" charset="0"/>
                <a:cs typeface="Roboto Light" panose="02000000000000000000" pitchFamily="2" charset="0"/>
              </a:rPr>
              <a:t>Frequently asked questions </a:t>
            </a:r>
          </a:p>
        </p:txBody>
      </p:sp>
      <p:sp>
        <p:nvSpPr>
          <p:cNvPr id="430" name="TextBox 429">
            <a:extLst>
              <a:ext uri="{FF2B5EF4-FFF2-40B4-BE49-F238E27FC236}">
                <a16:creationId xmlns:a16="http://schemas.microsoft.com/office/drawing/2014/main" id="{43A6FA19-7276-3C4A-B5BF-EDBC639ED875}"/>
              </a:ext>
            </a:extLst>
          </p:cNvPr>
          <p:cNvSpPr txBox="1"/>
          <p:nvPr/>
        </p:nvSpPr>
        <p:spPr>
          <a:xfrm>
            <a:off x="1903918" y="3071579"/>
            <a:ext cx="3609702" cy="26391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24EA2"/>
                </a:solidFill>
                <a:effectLst/>
                <a:uLnTx/>
                <a:uFillTx/>
                <a:latin typeface="EC Square Sans Pro" panose="020B0506040000020004" pitchFamily="34" charset="0"/>
                <a:ea typeface="+mn-ea"/>
                <a:cs typeface="Arial" panose="020B0604020202020204" pitchFamily="34" charset="0"/>
                <a:hlinkClick r:id="rId2"/>
              </a:rPr>
              <a:t>https://</a:t>
            </a:r>
            <a:r>
              <a:rPr kumimoji="0" lang="en-US" sz="1400" b="1" i="0" u="none" strike="noStrike" kern="1200" cap="none" spc="0" normalizeH="0" baseline="0" noProof="0" err="1">
                <a:ln>
                  <a:noFill/>
                </a:ln>
                <a:solidFill>
                  <a:srgbClr val="024EA2"/>
                </a:solidFill>
                <a:effectLst/>
                <a:uLnTx/>
                <a:uFillTx/>
                <a:latin typeface="EC Square Sans Pro" panose="020B0506040000020004" pitchFamily="34" charset="0"/>
                <a:ea typeface="+mn-ea"/>
                <a:cs typeface="Arial" panose="020B0604020202020204" pitchFamily="34" charset="0"/>
                <a:hlinkClick r:id="rId2"/>
              </a:rPr>
              <a:t>europa.eu</a:t>
            </a:r>
            <a:r>
              <a:rPr kumimoji="0" lang="en-US" sz="1400" b="1" i="0" u="none" strike="noStrike" kern="1200" cap="none" spc="0" normalizeH="0" baseline="0" noProof="0">
                <a:ln>
                  <a:noFill/>
                </a:ln>
                <a:solidFill>
                  <a:srgbClr val="024EA2"/>
                </a:solidFill>
                <a:effectLst/>
                <a:uLnTx/>
                <a:uFillTx/>
                <a:latin typeface="EC Square Sans Pro" panose="020B0506040000020004" pitchFamily="34" charset="0"/>
                <a:ea typeface="+mn-ea"/>
                <a:cs typeface="Arial" panose="020B0604020202020204" pitchFamily="34" charset="0"/>
                <a:hlinkClick r:id="rId2"/>
              </a:rPr>
              <a:t>/!QB67by</a:t>
            </a:r>
            <a:endParaRPr kumimoji="0" lang="en-US" sz="1400" b="1" i="0" u="none" strike="noStrike" kern="1200" cap="none" spc="0" normalizeH="0" baseline="0" noProof="0">
              <a:ln>
                <a:noFill/>
              </a:ln>
              <a:solidFill>
                <a:srgbClr val="024EA2"/>
              </a:solidFill>
              <a:effectLst/>
              <a:uLnTx/>
              <a:uFillTx/>
              <a:latin typeface="EC Square Sans Pro" panose="020B0506040000020004" pitchFamily="34" charset="0"/>
              <a:ea typeface="+mn-ea"/>
              <a:cs typeface="Arial" panose="020B0604020202020204" pitchFamily="34" charset="0"/>
            </a:endParaRPr>
          </a:p>
        </p:txBody>
      </p:sp>
      <p:grpSp>
        <p:nvGrpSpPr>
          <p:cNvPr id="128" name="Group 127">
            <a:extLst>
              <a:ext uri="{FF2B5EF4-FFF2-40B4-BE49-F238E27FC236}">
                <a16:creationId xmlns:a16="http://schemas.microsoft.com/office/drawing/2014/main" id="{6FE12B8D-90BA-C24C-911D-8F08CCA7BD8F}"/>
              </a:ext>
            </a:extLst>
          </p:cNvPr>
          <p:cNvGrpSpPr/>
          <p:nvPr/>
        </p:nvGrpSpPr>
        <p:grpSpPr>
          <a:xfrm>
            <a:off x="-196337" y="3290809"/>
            <a:ext cx="13116255" cy="3708347"/>
            <a:chOff x="-307348" y="2559897"/>
            <a:chExt cx="9881033" cy="2793654"/>
          </a:xfrm>
        </p:grpSpPr>
        <p:sp>
          <p:nvSpPr>
            <p:cNvPr id="130" name="Freeform 183">
              <a:extLst>
                <a:ext uri="{FF2B5EF4-FFF2-40B4-BE49-F238E27FC236}">
                  <a16:creationId xmlns:a16="http://schemas.microsoft.com/office/drawing/2014/main" id="{DA4D759A-62F8-C340-AD20-D3E835FF9F4B}"/>
                </a:ext>
              </a:extLst>
            </p:cNvPr>
            <p:cNvSpPr>
              <a:spLocks noEditPoints="1"/>
            </p:cNvSpPr>
            <p:nvPr/>
          </p:nvSpPr>
          <p:spPr bwMode="auto">
            <a:xfrm>
              <a:off x="-307348" y="2559897"/>
              <a:ext cx="9881033" cy="2628714"/>
            </a:xfrm>
            <a:custGeom>
              <a:avLst/>
              <a:gdLst>
                <a:gd name="T0" fmla="*/ 3743 w 4211"/>
                <a:gd name="T1" fmla="*/ 508 h 1254"/>
                <a:gd name="T2" fmla="*/ 3617 w 4211"/>
                <a:gd name="T3" fmla="*/ 207 h 1254"/>
                <a:gd name="T4" fmla="*/ 3276 w 4211"/>
                <a:gd name="T5" fmla="*/ 492 h 1254"/>
                <a:gd name="T6" fmla="*/ 3009 w 4211"/>
                <a:gd name="T7" fmla="*/ 368 h 1254"/>
                <a:gd name="T8" fmla="*/ 2879 w 4211"/>
                <a:gd name="T9" fmla="*/ 454 h 1254"/>
                <a:gd name="T10" fmla="*/ 2692 w 4211"/>
                <a:gd name="T11" fmla="*/ 361 h 1254"/>
                <a:gd name="T12" fmla="*/ 2479 w 4211"/>
                <a:gd name="T13" fmla="*/ 311 h 1254"/>
                <a:gd name="T14" fmla="*/ 2299 w 4211"/>
                <a:gd name="T15" fmla="*/ 698 h 1254"/>
                <a:gd name="T16" fmla="*/ 1966 w 4211"/>
                <a:gd name="T17" fmla="*/ 651 h 1254"/>
                <a:gd name="T18" fmla="*/ 1625 w 4211"/>
                <a:gd name="T19" fmla="*/ 382 h 1254"/>
                <a:gd name="T20" fmla="*/ 1424 w 4211"/>
                <a:gd name="T21" fmla="*/ 558 h 1254"/>
                <a:gd name="T22" fmla="*/ 1102 w 4211"/>
                <a:gd name="T23" fmla="*/ 651 h 1254"/>
                <a:gd name="T24" fmla="*/ 842 w 4211"/>
                <a:gd name="T25" fmla="*/ 606 h 1254"/>
                <a:gd name="T26" fmla="*/ 485 w 4211"/>
                <a:gd name="T27" fmla="*/ 798 h 1254"/>
                <a:gd name="T28" fmla="*/ 11 w 4211"/>
                <a:gd name="T29" fmla="*/ 620 h 1254"/>
                <a:gd name="T30" fmla="*/ 1788 w 4211"/>
                <a:gd name="T31" fmla="*/ 979 h 1254"/>
                <a:gd name="T32" fmla="*/ 1746 w 4211"/>
                <a:gd name="T33" fmla="*/ 729 h 1254"/>
                <a:gd name="T34" fmla="*/ 1788 w 4211"/>
                <a:gd name="T35" fmla="*/ 520 h 1254"/>
                <a:gd name="T36" fmla="*/ 1746 w 4211"/>
                <a:gd name="T37" fmla="*/ 216 h 1254"/>
                <a:gd name="T38" fmla="*/ 1864 w 4211"/>
                <a:gd name="T39" fmla="*/ 881 h 1254"/>
                <a:gd name="T40" fmla="*/ 1864 w 4211"/>
                <a:gd name="T41" fmla="*/ 672 h 1254"/>
                <a:gd name="T42" fmla="*/ 1821 w 4211"/>
                <a:gd name="T43" fmla="*/ 423 h 1254"/>
                <a:gd name="T44" fmla="*/ 1864 w 4211"/>
                <a:gd name="T45" fmla="*/ 368 h 1254"/>
                <a:gd name="T46" fmla="*/ 1899 w 4211"/>
                <a:gd name="T47" fmla="*/ 979 h 1254"/>
                <a:gd name="T48" fmla="*/ 1940 w 4211"/>
                <a:gd name="T49" fmla="*/ 729 h 1254"/>
                <a:gd name="T50" fmla="*/ 1940 w 4211"/>
                <a:gd name="T51" fmla="*/ 520 h 1254"/>
                <a:gd name="T52" fmla="*/ 1899 w 4211"/>
                <a:gd name="T53" fmla="*/ 271 h 1254"/>
                <a:gd name="T54" fmla="*/ 1940 w 4211"/>
                <a:gd name="T55" fmla="*/ 216 h 1254"/>
                <a:gd name="T56" fmla="*/ 2441 w 4211"/>
                <a:gd name="T57" fmla="*/ 1138 h 1254"/>
                <a:gd name="T58" fmla="*/ 2496 w 4211"/>
                <a:gd name="T59" fmla="*/ 397 h 1254"/>
                <a:gd name="T60" fmla="*/ 2576 w 4211"/>
                <a:gd name="T61" fmla="*/ 1138 h 1254"/>
                <a:gd name="T62" fmla="*/ 2600 w 4211"/>
                <a:gd name="T63" fmla="*/ 397 h 1254"/>
                <a:gd name="T64" fmla="*/ 3518 w 4211"/>
                <a:gd name="T65" fmla="*/ 924 h 1254"/>
                <a:gd name="T66" fmla="*/ 3492 w 4211"/>
                <a:gd name="T67" fmla="*/ 803 h 1254"/>
                <a:gd name="T68" fmla="*/ 3518 w 4211"/>
                <a:gd name="T69" fmla="*/ 644 h 1254"/>
                <a:gd name="T70" fmla="*/ 3518 w 4211"/>
                <a:gd name="T71" fmla="*/ 558 h 1254"/>
                <a:gd name="T72" fmla="*/ 3492 w 4211"/>
                <a:gd name="T73" fmla="*/ 461 h 1254"/>
                <a:gd name="T74" fmla="*/ 3518 w 4211"/>
                <a:gd name="T75" fmla="*/ 437 h 1254"/>
                <a:gd name="T76" fmla="*/ 3492 w 4211"/>
                <a:gd name="T77" fmla="*/ 316 h 1254"/>
                <a:gd name="T78" fmla="*/ 3570 w 4211"/>
                <a:gd name="T79" fmla="*/ 948 h 1254"/>
                <a:gd name="T80" fmla="*/ 3570 w 4211"/>
                <a:gd name="T81" fmla="*/ 865 h 1254"/>
                <a:gd name="T82" fmla="*/ 3541 w 4211"/>
                <a:gd name="T83" fmla="*/ 765 h 1254"/>
                <a:gd name="T84" fmla="*/ 3570 w 4211"/>
                <a:gd name="T85" fmla="*/ 741 h 1254"/>
                <a:gd name="T86" fmla="*/ 3541 w 4211"/>
                <a:gd name="T87" fmla="*/ 620 h 1254"/>
                <a:gd name="T88" fmla="*/ 3570 w 4211"/>
                <a:gd name="T89" fmla="*/ 461 h 1254"/>
                <a:gd name="T90" fmla="*/ 3570 w 4211"/>
                <a:gd name="T91" fmla="*/ 378 h 1254"/>
                <a:gd name="T92" fmla="*/ 3541 w 4211"/>
                <a:gd name="T93" fmla="*/ 278 h 1254"/>
                <a:gd name="T94" fmla="*/ 3619 w 4211"/>
                <a:gd name="T95" fmla="*/ 986 h 1254"/>
                <a:gd name="T96" fmla="*/ 3593 w 4211"/>
                <a:gd name="T97" fmla="*/ 865 h 1254"/>
                <a:gd name="T98" fmla="*/ 3619 w 4211"/>
                <a:gd name="T99" fmla="*/ 765 h 1254"/>
                <a:gd name="T100" fmla="*/ 3619 w 4211"/>
                <a:gd name="T101" fmla="*/ 620 h 1254"/>
                <a:gd name="T102" fmla="*/ 3593 w 4211"/>
                <a:gd name="T103" fmla="*/ 520 h 1254"/>
                <a:gd name="T104" fmla="*/ 3619 w 4211"/>
                <a:gd name="T105" fmla="*/ 499 h 1254"/>
                <a:gd name="T106" fmla="*/ 3593 w 4211"/>
                <a:gd name="T107" fmla="*/ 378 h 1254"/>
                <a:gd name="T108" fmla="*/ 3619 w 4211"/>
                <a:gd name="T109" fmla="*/ 278 h 1254"/>
                <a:gd name="T110" fmla="*/ 3669 w 4211"/>
                <a:gd name="T111" fmla="*/ 865 h 1254"/>
                <a:gd name="T112" fmla="*/ 3643 w 4211"/>
                <a:gd name="T113" fmla="*/ 765 h 1254"/>
                <a:gd name="T114" fmla="*/ 3669 w 4211"/>
                <a:gd name="T115" fmla="*/ 741 h 1254"/>
                <a:gd name="T116" fmla="*/ 3643 w 4211"/>
                <a:gd name="T117" fmla="*/ 620 h 1254"/>
                <a:gd name="T118" fmla="*/ 3669 w 4211"/>
                <a:gd name="T119" fmla="*/ 520 h 1254"/>
                <a:gd name="T120" fmla="*/ 3669 w 4211"/>
                <a:gd name="T121" fmla="*/ 378 h 1254"/>
                <a:gd name="T122" fmla="*/ 3643 w 4211"/>
                <a:gd name="T123" fmla="*/ 278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11" h="1254">
                  <a:moveTo>
                    <a:pt x="4107" y="853"/>
                  </a:moveTo>
                  <a:lnTo>
                    <a:pt x="4107" y="689"/>
                  </a:lnTo>
                  <a:lnTo>
                    <a:pt x="4038" y="689"/>
                  </a:lnTo>
                  <a:lnTo>
                    <a:pt x="4038" y="677"/>
                  </a:lnTo>
                  <a:lnTo>
                    <a:pt x="3967" y="677"/>
                  </a:lnTo>
                  <a:lnTo>
                    <a:pt x="3967" y="508"/>
                  </a:lnTo>
                  <a:lnTo>
                    <a:pt x="3743" y="508"/>
                  </a:lnTo>
                  <a:lnTo>
                    <a:pt x="3743" y="335"/>
                  </a:lnTo>
                  <a:lnTo>
                    <a:pt x="3712" y="335"/>
                  </a:lnTo>
                  <a:lnTo>
                    <a:pt x="3712" y="197"/>
                  </a:lnTo>
                  <a:lnTo>
                    <a:pt x="3653" y="197"/>
                  </a:lnTo>
                  <a:lnTo>
                    <a:pt x="3653" y="157"/>
                  </a:lnTo>
                  <a:lnTo>
                    <a:pt x="3617" y="157"/>
                  </a:lnTo>
                  <a:lnTo>
                    <a:pt x="3617" y="207"/>
                  </a:lnTo>
                  <a:lnTo>
                    <a:pt x="3440" y="207"/>
                  </a:lnTo>
                  <a:lnTo>
                    <a:pt x="3440" y="596"/>
                  </a:lnTo>
                  <a:lnTo>
                    <a:pt x="3388" y="596"/>
                  </a:lnTo>
                  <a:lnTo>
                    <a:pt x="3388" y="708"/>
                  </a:lnTo>
                  <a:lnTo>
                    <a:pt x="3362" y="708"/>
                  </a:lnTo>
                  <a:lnTo>
                    <a:pt x="3362" y="492"/>
                  </a:lnTo>
                  <a:lnTo>
                    <a:pt x="3276" y="492"/>
                  </a:lnTo>
                  <a:lnTo>
                    <a:pt x="3276" y="373"/>
                  </a:lnTo>
                  <a:lnTo>
                    <a:pt x="3146" y="373"/>
                  </a:lnTo>
                  <a:lnTo>
                    <a:pt x="3146" y="449"/>
                  </a:lnTo>
                  <a:lnTo>
                    <a:pt x="3078" y="382"/>
                  </a:lnTo>
                  <a:lnTo>
                    <a:pt x="3028" y="444"/>
                  </a:lnTo>
                  <a:lnTo>
                    <a:pt x="3009" y="444"/>
                  </a:lnTo>
                  <a:lnTo>
                    <a:pt x="3009" y="368"/>
                  </a:lnTo>
                  <a:lnTo>
                    <a:pt x="2959" y="368"/>
                  </a:lnTo>
                  <a:lnTo>
                    <a:pt x="2959" y="202"/>
                  </a:lnTo>
                  <a:lnTo>
                    <a:pt x="2924" y="202"/>
                  </a:lnTo>
                  <a:lnTo>
                    <a:pt x="2924" y="382"/>
                  </a:lnTo>
                  <a:lnTo>
                    <a:pt x="2896" y="382"/>
                  </a:lnTo>
                  <a:lnTo>
                    <a:pt x="2896" y="454"/>
                  </a:lnTo>
                  <a:lnTo>
                    <a:pt x="2879" y="454"/>
                  </a:lnTo>
                  <a:lnTo>
                    <a:pt x="2879" y="615"/>
                  </a:lnTo>
                  <a:lnTo>
                    <a:pt x="2806" y="615"/>
                  </a:lnTo>
                  <a:lnTo>
                    <a:pt x="2806" y="679"/>
                  </a:lnTo>
                  <a:lnTo>
                    <a:pt x="2746" y="679"/>
                  </a:lnTo>
                  <a:lnTo>
                    <a:pt x="2746" y="594"/>
                  </a:lnTo>
                  <a:lnTo>
                    <a:pt x="2692" y="594"/>
                  </a:lnTo>
                  <a:lnTo>
                    <a:pt x="2692" y="361"/>
                  </a:lnTo>
                  <a:lnTo>
                    <a:pt x="2626" y="361"/>
                  </a:lnTo>
                  <a:lnTo>
                    <a:pt x="2626" y="316"/>
                  </a:lnTo>
                  <a:lnTo>
                    <a:pt x="2557" y="316"/>
                  </a:lnTo>
                  <a:lnTo>
                    <a:pt x="2557" y="264"/>
                  </a:lnTo>
                  <a:lnTo>
                    <a:pt x="2522" y="264"/>
                  </a:lnTo>
                  <a:lnTo>
                    <a:pt x="2522" y="311"/>
                  </a:lnTo>
                  <a:lnTo>
                    <a:pt x="2479" y="311"/>
                  </a:lnTo>
                  <a:lnTo>
                    <a:pt x="2479" y="157"/>
                  </a:lnTo>
                  <a:lnTo>
                    <a:pt x="2413" y="157"/>
                  </a:lnTo>
                  <a:lnTo>
                    <a:pt x="2413" y="309"/>
                  </a:lnTo>
                  <a:lnTo>
                    <a:pt x="2339" y="309"/>
                  </a:lnTo>
                  <a:lnTo>
                    <a:pt x="2339" y="492"/>
                  </a:lnTo>
                  <a:lnTo>
                    <a:pt x="2299" y="492"/>
                  </a:lnTo>
                  <a:lnTo>
                    <a:pt x="2299" y="698"/>
                  </a:lnTo>
                  <a:lnTo>
                    <a:pt x="2127" y="698"/>
                  </a:lnTo>
                  <a:lnTo>
                    <a:pt x="2127" y="620"/>
                  </a:lnTo>
                  <a:lnTo>
                    <a:pt x="2018" y="620"/>
                  </a:lnTo>
                  <a:lnTo>
                    <a:pt x="2018" y="708"/>
                  </a:lnTo>
                  <a:lnTo>
                    <a:pt x="1999" y="708"/>
                  </a:lnTo>
                  <a:lnTo>
                    <a:pt x="1999" y="651"/>
                  </a:lnTo>
                  <a:lnTo>
                    <a:pt x="1966" y="651"/>
                  </a:lnTo>
                  <a:lnTo>
                    <a:pt x="1966" y="0"/>
                  </a:lnTo>
                  <a:lnTo>
                    <a:pt x="1710" y="0"/>
                  </a:lnTo>
                  <a:lnTo>
                    <a:pt x="1710" y="696"/>
                  </a:lnTo>
                  <a:lnTo>
                    <a:pt x="1632" y="696"/>
                  </a:lnTo>
                  <a:lnTo>
                    <a:pt x="1632" y="558"/>
                  </a:lnTo>
                  <a:lnTo>
                    <a:pt x="1625" y="558"/>
                  </a:lnTo>
                  <a:lnTo>
                    <a:pt x="1625" y="382"/>
                  </a:lnTo>
                  <a:lnTo>
                    <a:pt x="1554" y="283"/>
                  </a:lnTo>
                  <a:lnTo>
                    <a:pt x="1554" y="162"/>
                  </a:lnTo>
                  <a:lnTo>
                    <a:pt x="1530" y="162"/>
                  </a:lnTo>
                  <a:lnTo>
                    <a:pt x="1530" y="278"/>
                  </a:lnTo>
                  <a:lnTo>
                    <a:pt x="1469" y="387"/>
                  </a:lnTo>
                  <a:lnTo>
                    <a:pt x="1469" y="558"/>
                  </a:lnTo>
                  <a:lnTo>
                    <a:pt x="1424" y="558"/>
                  </a:lnTo>
                  <a:lnTo>
                    <a:pt x="1424" y="656"/>
                  </a:lnTo>
                  <a:lnTo>
                    <a:pt x="1388" y="656"/>
                  </a:lnTo>
                  <a:lnTo>
                    <a:pt x="1388" y="591"/>
                  </a:lnTo>
                  <a:lnTo>
                    <a:pt x="1197" y="591"/>
                  </a:lnTo>
                  <a:lnTo>
                    <a:pt x="1197" y="808"/>
                  </a:lnTo>
                  <a:lnTo>
                    <a:pt x="1102" y="808"/>
                  </a:lnTo>
                  <a:lnTo>
                    <a:pt x="1102" y="651"/>
                  </a:lnTo>
                  <a:lnTo>
                    <a:pt x="1052" y="651"/>
                  </a:lnTo>
                  <a:lnTo>
                    <a:pt x="1052" y="596"/>
                  </a:lnTo>
                  <a:lnTo>
                    <a:pt x="936" y="596"/>
                  </a:lnTo>
                  <a:lnTo>
                    <a:pt x="936" y="656"/>
                  </a:lnTo>
                  <a:lnTo>
                    <a:pt x="887" y="656"/>
                  </a:lnTo>
                  <a:lnTo>
                    <a:pt x="887" y="606"/>
                  </a:lnTo>
                  <a:lnTo>
                    <a:pt x="842" y="606"/>
                  </a:lnTo>
                  <a:lnTo>
                    <a:pt x="842" y="665"/>
                  </a:lnTo>
                  <a:lnTo>
                    <a:pt x="797" y="665"/>
                  </a:lnTo>
                  <a:lnTo>
                    <a:pt x="797" y="715"/>
                  </a:lnTo>
                  <a:lnTo>
                    <a:pt x="579" y="715"/>
                  </a:lnTo>
                  <a:lnTo>
                    <a:pt x="579" y="914"/>
                  </a:lnTo>
                  <a:lnTo>
                    <a:pt x="485" y="914"/>
                  </a:lnTo>
                  <a:lnTo>
                    <a:pt x="485" y="798"/>
                  </a:lnTo>
                  <a:lnTo>
                    <a:pt x="444" y="798"/>
                  </a:lnTo>
                  <a:lnTo>
                    <a:pt x="444" y="620"/>
                  </a:lnTo>
                  <a:lnTo>
                    <a:pt x="243" y="620"/>
                  </a:lnTo>
                  <a:lnTo>
                    <a:pt x="243" y="720"/>
                  </a:lnTo>
                  <a:lnTo>
                    <a:pt x="182" y="720"/>
                  </a:lnTo>
                  <a:lnTo>
                    <a:pt x="182" y="620"/>
                  </a:lnTo>
                  <a:lnTo>
                    <a:pt x="11" y="620"/>
                  </a:lnTo>
                  <a:lnTo>
                    <a:pt x="11" y="914"/>
                  </a:lnTo>
                  <a:lnTo>
                    <a:pt x="0" y="914"/>
                  </a:lnTo>
                  <a:lnTo>
                    <a:pt x="0" y="1247"/>
                  </a:lnTo>
                  <a:lnTo>
                    <a:pt x="4211" y="1254"/>
                  </a:lnTo>
                  <a:lnTo>
                    <a:pt x="4211" y="853"/>
                  </a:lnTo>
                  <a:lnTo>
                    <a:pt x="4107" y="853"/>
                  </a:lnTo>
                  <a:close/>
                  <a:moveTo>
                    <a:pt x="1788" y="979"/>
                  </a:moveTo>
                  <a:lnTo>
                    <a:pt x="1746" y="979"/>
                  </a:lnTo>
                  <a:lnTo>
                    <a:pt x="1746" y="881"/>
                  </a:lnTo>
                  <a:lnTo>
                    <a:pt x="1788" y="881"/>
                  </a:lnTo>
                  <a:lnTo>
                    <a:pt x="1788" y="979"/>
                  </a:lnTo>
                  <a:close/>
                  <a:moveTo>
                    <a:pt x="1788" y="827"/>
                  </a:moveTo>
                  <a:lnTo>
                    <a:pt x="1746" y="827"/>
                  </a:lnTo>
                  <a:lnTo>
                    <a:pt x="1746" y="729"/>
                  </a:lnTo>
                  <a:lnTo>
                    <a:pt x="1788" y="729"/>
                  </a:lnTo>
                  <a:lnTo>
                    <a:pt x="1788" y="827"/>
                  </a:lnTo>
                  <a:close/>
                  <a:moveTo>
                    <a:pt x="1788" y="520"/>
                  </a:moveTo>
                  <a:lnTo>
                    <a:pt x="1746" y="520"/>
                  </a:lnTo>
                  <a:lnTo>
                    <a:pt x="1746" y="423"/>
                  </a:lnTo>
                  <a:lnTo>
                    <a:pt x="1788" y="423"/>
                  </a:lnTo>
                  <a:lnTo>
                    <a:pt x="1788" y="520"/>
                  </a:lnTo>
                  <a:close/>
                  <a:moveTo>
                    <a:pt x="1788" y="368"/>
                  </a:moveTo>
                  <a:lnTo>
                    <a:pt x="1746" y="368"/>
                  </a:lnTo>
                  <a:lnTo>
                    <a:pt x="1746" y="271"/>
                  </a:lnTo>
                  <a:lnTo>
                    <a:pt x="1788" y="271"/>
                  </a:lnTo>
                  <a:lnTo>
                    <a:pt x="1788" y="368"/>
                  </a:lnTo>
                  <a:close/>
                  <a:moveTo>
                    <a:pt x="1788" y="216"/>
                  </a:moveTo>
                  <a:lnTo>
                    <a:pt x="1746" y="216"/>
                  </a:lnTo>
                  <a:lnTo>
                    <a:pt x="1746" y="116"/>
                  </a:lnTo>
                  <a:lnTo>
                    <a:pt x="1788" y="116"/>
                  </a:lnTo>
                  <a:lnTo>
                    <a:pt x="1788" y="216"/>
                  </a:lnTo>
                  <a:close/>
                  <a:moveTo>
                    <a:pt x="1864" y="979"/>
                  </a:moveTo>
                  <a:lnTo>
                    <a:pt x="1821" y="979"/>
                  </a:lnTo>
                  <a:lnTo>
                    <a:pt x="1821" y="881"/>
                  </a:lnTo>
                  <a:lnTo>
                    <a:pt x="1864" y="881"/>
                  </a:lnTo>
                  <a:lnTo>
                    <a:pt x="1864" y="979"/>
                  </a:lnTo>
                  <a:close/>
                  <a:moveTo>
                    <a:pt x="1864" y="827"/>
                  </a:moveTo>
                  <a:lnTo>
                    <a:pt x="1821" y="827"/>
                  </a:lnTo>
                  <a:lnTo>
                    <a:pt x="1821" y="729"/>
                  </a:lnTo>
                  <a:lnTo>
                    <a:pt x="1864" y="729"/>
                  </a:lnTo>
                  <a:lnTo>
                    <a:pt x="1864" y="827"/>
                  </a:lnTo>
                  <a:close/>
                  <a:moveTo>
                    <a:pt x="1864" y="672"/>
                  </a:moveTo>
                  <a:lnTo>
                    <a:pt x="1821" y="672"/>
                  </a:lnTo>
                  <a:lnTo>
                    <a:pt x="1821" y="575"/>
                  </a:lnTo>
                  <a:lnTo>
                    <a:pt x="1864" y="575"/>
                  </a:lnTo>
                  <a:lnTo>
                    <a:pt x="1864" y="672"/>
                  </a:lnTo>
                  <a:close/>
                  <a:moveTo>
                    <a:pt x="1864" y="520"/>
                  </a:moveTo>
                  <a:lnTo>
                    <a:pt x="1821" y="520"/>
                  </a:lnTo>
                  <a:lnTo>
                    <a:pt x="1821" y="423"/>
                  </a:lnTo>
                  <a:lnTo>
                    <a:pt x="1864" y="423"/>
                  </a:lnTo>
                  <a:lnTo>
                    <a:pt x="1864" y="520"/>
                  </a:lnTo>
                  <a:close/>
                  <a:moveTo>
                    <a:pt x="1864" y="368"/>
                  </a:moveTo>
                  <a:lnTo>
                    <a:pt x="1821" y="368"/>
                  </a:lnTo>
                  <a:lnTo>
                    <a:pt x="1821" y="271"/>
                  </a:lnTo>
                  <a:lnTo>
                    <a:pt x="1864" y="271"/>
                  </a:lnTo>
                  <a:lnTo>
                    <a:pt x="1864" y="368"/>
                  </a:lnTo>
                  <a:close/>
                  <a:moveTo>
                    <a:pt x="1864" y="216"/>
                  </a:moveTo>
                  <a:lnTo>
                    <a:pt x="1821" y="216"/>
                  </a:lnTo>
                  <a:lnTo>
                    <a:pt x="1821" y="116"/>
                  </a:lnTo>
                  <a:lnTo>
                    <a:pt x="1864" y="116"/>
                  </a:lnTo>
                  <a:lnTo>
                    <a:pt x="1864" y="216"/>
                  </a:lnTo>
                  <a:close/>
                  <a:moveTo>
                    <a:pt x="1940" y="979"/>
                  </a:moveTo>
                  <a:lnTo>
                    <a:pt x="1899" y="979"/>
                  </a:lnTo>
                  <a:lnTo>
                    <a:pt x="1899" y="881"/>
                  </a:lnTo>
                  <a:lnTo>
                    <a:pt x="1940" y="881"/>
                  </a:lnTo>
                  <a:lnTo>
                    <a:pt x="1940" y="979"/>
                  </a:lnTo>
                  <a:close/>
                  <a:moveTo>
                    <a:pt x="1940" y="827"/>
                  </a:moveTo>
                  <a:lnTo>
                    <a:pt x="1899" y="827"/>
                  </a:lnTo>
                  <a:lnTo>
                    <a:pt x="1899" y="729"/>
                  </a:lnTo>
                  <a:lnTo>
                    <a:pt x="1940" y="729"/>
                  </a:lnTo>
                  <a:lnTo>
                    <a:pt x="1940" y="827"/>
                  </a:lnTo>
                  <a:close/>
                  <a:moveTo>
                    <a:pt x="1940" y="672"/>
                  </a:moveTo>
                  <a:lnTo>
                    <a:pt x="1899" y="672"/>
                  </a:lnTo>
                  <a:lnTo>
                    <a:pt x="1899" y="575"/>
                  </a:lnTo>
                  <a:lnTo>
                    <a:pt x="1940" y="575"/>
                  </a:lnTo>
                  <a:lnTo>
                    <a:pt x="1940" y="672"/>
                  </a:lnTo>
                  <a:close/>
                  <a:moveTo>
                    <a:pt x="1940" y="520"/>
                  </a:moveTo>
                  <a:lnTo>
                    <a:pt x="1899" y="520"/>
                  </a:lnTo>
                  <a:lnTo>
                    <a:pt x="1899" y="423"/>
                  </a:lnTo>
                  <a:lnTo>
                    <a:pt x="1940" y="423"/>
                  </a:lnTo>
                  <a:lnTo>
                    <a:pt x="1940" y="520"/>
                  </a:lnTo>
                  <a:close/>
                  <a:moveTo>
                    <a:pt x="1940" y="368"/>
                  </a:moveTo>
                  <a:lnTo>
                    <a:pt x="1899" y="368"/>
                  </a:lnTo>
                  <a:lnTo>
                    <a:pt x="1899" y="271"/>
                  </a:lnTo>
                  <a:lnTo>
                    <a:pt x="1940" y="271"/>
                  </a:lnTo>
                  <a:lnTo>
                    <a:pt x="1940" y="368"/>
                  </a:lnTo>
                  <a:close/>
                  <a:moveTo>
                    <a:pt x="1940" y="216"/>
                  </a:moveTo>
                  <a:lnTo>
                    <a:pt x="1899" y="216"/>
                  </a:lnTo>
                  <a:lnTo>
                    <a:pt x="1899" y="116"/>
                  </a:lnTo>
                  <a:lnTo>
                    <a:pt x="1940" y="116"/>
                  </a:lnTo>
                  <a:lnTo>
                    <a:pt x="1940" y="216"/>
                  </a:lnTo>
                  <a:close/>
                  <a:moveTo>
                    <a:pt x="2418" y="1138"/>
                  </a:moveTo>
                  <a:lnTo>
                    <a:pt x="2401" y="1138"/>
                  </a:lnTo>
                  <a:lnTo>
                    <a:pt x="2401" y="397"/>
                  </a:lnTo>
                  <a:lnTo>
                    <a:pt x="2418" y="397"/>
                  </a:lnTo>
                  <a:lnTo>
                    <a:pt x="2418" y="1138"/>
                  </a:lnTo>
                  <a:close/>
                  <a:moveTo>
                    <a:pt x="2458" y="1138"/>
                  </a:moveTo>
                  <a:lnTo>
                    <a:pt x="2441" y="1138"/>
                  </a:lnTo>
                  <a:lnTo>
                    <a:pt x="2441" y="397"/>
                  </a:lnTo>
                  <a:lnTo>
                    <a:pt x="2458" y="397"/>
                  </a:lnTo>
                  <a:lnTo>
                    <a:pt x="2458" y="1138"/>
                  </a:lnTo>
                  <a:close/>
                  <a:moveTo>
                    <a:pt x="2496" y="1138"/>
                  </a:moveTo>
                  <a:lnTo>
                    <a:pt x="2481" y="1138"/>
                  </a:lnTo>
                  <a:lnTo>
                    <a:pt x="2481" y="397"/>
                  </a:lnTo>
                  <a:lnTo>
                    <a:pt x="2496" y="397"/>
                  </a:lnTo>
                  <a:lnTo>
                    <a:pt x="2496" y="1138"/>
                  </a:lnTo>
                  <a:close/>
                  <a:moveTo>
                    <a:pt x="2536" y="1138"/>
                  </a:moveTo>
                  <a:lnTo>
                    <a:pt x="2522" y="1138"/>
                  </a:lnTo>
                  <a:lnTo>
                    <a:pt x="2522" y="397"/>
                  </a:lnTo>
                  <a:lnTo>
                    <a:pt x="2536" y="397"/>
                  </a:lnTo>
                  <a:lnTo>
                    <a:pt x="2536" y="1138"/>
                  </a:lnTo>
                  <a:close/>
                  <a:moveTo>
                    <a:pt x="2576" y="1138"/>
                  </a:moveTo>
                  <a:lnTo>
                    <a:pt x="2562" y="1138"/>
                  </a:lnTo>
                  <a:lnTo>
                    <a:pt x="2562" y="397"/>
                  </a:lnTo>
                  <a:lnTo>
                    <a:pt x="2576" y="397"/>
                  </a:lnTo>
                  <a:lnTo>
                    <a:pt x="2576" y="1138"/>
                  </a:lnTo>
                  <a:close/>
                  <a:moveTo>
                    <a:pt x="2616" y="1138"/>
                  </a:moveTo>
                  <a:lnTo>
                    <a:pt x="2600" y="1138"/>
                  </a:lnTo>
                  <a:lnTo>
                    <a:pt x="2600" y="397"/>
                  </a:lnTo>
                  <a:lnTo>
                    <a:pt x="2616" y="397"/>
                  </a:lnTo>
                  <a:lnTo>
                    <a:pt x="2616" y="1138"/>
                  </a:lnTo>
                  <a:close/>
                  <a:moveTo>
                    <a:pt x="3518" y="924"/>
                  </a:moveTo>
                  <a:lnTo>
                    <a:pt x="3492" y="924"/>
                  </a:lnTo>
                  <a:lnTo>
                    <a:pt x="3492" y="886"/>
                  </a:lnTo>
                  <a:lnTo>
                    <a:pt x="3518" y="886"/>
                  </a:lnTo>
                  <a:lnTo>
                    <a:pt x="3518" y="924"/>
                  </a:lnTo>
                  <a:close/>
                  <a:moveTo>
                    <a:pt x="3518" y="865"/>
                  </a:moveTo>
                  <a:lnTo>
                    <a:pt x="3492" y="865"/>
                  </a:lnTo>
                  <a:lnTo>
                    <a:pt x="3492" y="827"/>
                  </a:lnTo>
                  <a:lnTo>
                    <a:pt x="3518" y="827"/>
                  </a:lnTo>
                  <a:lnTo>
                    <a:pt x="3518" y="865"/>
                  </a:lnTo>
                  <a:close/>
                  <a:moveTo>
                    <a:pt x="3518" y="803"/>
                  </a:moveTo>
                  <a:lnTo>
                    <a:pt x="3492" y="803"/>
                  </a:lnTo>
                  <a:lnTo>
                    <a:pt x="3492" y="765"/>
                  </a:lnTo>
                  <a:lnTo>
                    <a:pt x="3518" y="765"/>
                  </a:lnTo>
                  <a:lnTo>
                    <a:pt x="3518" y="803"/>
                  </a:lnTo>
                  <a:close/>
                  <a:moveTo>
                    <a:pt x="3518" y="682"/>
                  </a:moveTo>
                  <a:lnTo>
                    <a:pt x="3492" y="682"/>
                  </a:lnTo>
                  <a:lnTo>
                    <a:pt x="3492" y="644"/>
                  </a:lnTo>
                  <a:lnTo>
                    <a:pt x="3518" y="644"/>
                  </a:lnTo>
                  <a:lnTo>
                    <a:pt x="3518" y="682"/>
                  </a:lnTo>
                  <a:close/>
                  <a:moveTo>
                    <a:pt x="3518" y="620"/>
                  </a:moveTo>
                  <a:lnTo>
                    <a:pt x="3492" y="620"/>
                  </a:lnTo>
                  <a:lnTo>
                    <a:pt x="3492" y="582"/>
                  </a:lnTo>
                  <a:lnTo>
                    <a:pt x="3518" y="582"/>
                  </a:lnTo>
                  <a:lnTo>
                    <a:pt x="3518" y="620"/>
                  </a:lnTo>
                  <a:close/>
                  <a:moveTo>
                    <a:pt x="3518" y="558"/>
                  </a:moveTo>
                  <a:lnTo>
                    <a:pt x="3492" y="558"/>
                  </a:lnTo>
                  <a:lnTo>
                    <a:pt x="3492" y="520"/>
                  </a:lnTo>
                  <a:lnTo>
                    <a:pt x="3518" y="520"/>
                  </a:lnTo>
                  <a:lnTo>
                    <a:pt x="3518" y="558"/>
                  </a:lnTo>
                  <a:close/>
                  <a:moveTo>
                    <a:pt x="3518" y="499"/>
                  </a:moveTo>
                  <a:lnTo>
                    <a:pt x="3492" y="499"/>
                  </a:lnTo>
                  <a:lnTo>
                    <a:pt x="3492" y="461"/>
                  </a:lnTo>
                  <a:lnTo>
                    <a:pt x="3518" y="461"/>
                  </a:lnTo>
                  <a:lnTo>
                    <a:pt x="3518" y="499"/>
                  </a:lnTo>
                  <a:close/>
                  <a:moveTo>
                    <a:pt x="3518" y="437"/>
                  </a:moveTo>
                  <a:lnTo>
                    <a:pt x="3492" y="437"/>
                  </a:lnTo>
                  <a:lnTo>
                    <a:pt x="3492" y="399"/>
                  </a:lnTo>
                  <a:lnTo>
                    <a:pt x="3518" y="399"/>
                  </a:lnTo>
                  <a:lnTo>
                    <a:pt x="3518" y="437"/>
                  </a:lnTo>
                  <a:close/>
                  <a:moveTo>
                    <a:pt x="3518" y="378"/>
                  </a:moveTo>
                  <a:lnTo>
                    <a:pt x="3492" y="378"/>
                  </a:lnTo>
                  <a:lnTo>
                    <a:pt x="3492" y="337"/>
                  </a:lnTo>
                  <a:lnTo>
                    <a:pt x="3518" y="337"/>
                  </a:lnTo>
                  <a:lnTo>
                    <a:pt x="3518" y="378"/>
                  </a:lnTo>
                  <a:close/>
                  <a:moveTo>
                    <a:pt x="3518" y="316"/>
                  </a:moveTo>
                  <a:lnTo>
                    <a:pt x="3492" y="316"/>
                  </a:lnTo>
                  <a:lnTo>
                    <a:pt x="3492" y="278"/>
                  </a:lnTo>
                  <a:lnTo>
                    <a:pt x="3518" y="278"/>
                  </a:lnTo>
                  <a:lnTo>
                    <a:pt x="3518" y="316"/>
                  </a:lnTo>
                  <a:close/>
                  <a:moveTo>
                    <a:pt x="3570" y="986"/>
                  </a:moveTo>
                  <a:lnTo>
                    <a:pt x="3541" y="986"/>
                  </a:lnTo>
                  <a:lnTo>
                    <a:pt x="3541" y="948"/>
                  </a:lnTo>
                  <a:lnTo>
                    <a:pt x="3570" y="948"/>
                  </a:lnTo>
                  <a:lnTo>
                    <a:pt x="3570" y="986"/>
                  </a:lnTo>
                  <a:close/>
                  <a:moveTo>
                    <a:pt x="3570" y="924"/>
                  </a:moveTo>
                  <a:lnTo>
                    <a:pt x="3541" y="924"/>
                  </a:lnTo>
                  <a:lnTo>
                    <a:pt x="3541" y="886"/>
                  </a:lnTo>
                  <a:lnTo>
                    <a:pt x="3570" y="886"/>
                  </a:lnTo>
                  <a:lnTo>
                    <a:pt x="3570" y="924"/>
                  </a:lnTo>
                  <a:close/>
                  <a:moveTo>
                    <a:pt x="3570" y="865"/>
                  </a:moveTo>
                  <a:lnTo>
                    <a:pt x="3541" y="865"/>
                  </a:lnTo>
                  <a:lnTo>
                    <a:pt x="3541" y="827"/>
                  </a:lnTo>
                  <a:lnTo>
                    <a:pt x="3570" y="827"/>
                  </a:lnTo>
                  <a:lnTo>
                    <a:pt x="3570" y="865"/>
                  </a:lnTo>
                  <a:close/>
                  <a:moveTo>
                    <a:pt x="3570" y="803"/>
                  </a:moveTo>
                  <a:lnTo>
                    <a:pt x="3541" y="803"/>
                  </a:lnTo>
                  <a:lnTo>
                    <a:pt x="3541" y="765"/>
                  </a:lnTo>
                  <a:lnTo>
                    <a:pt x="3570" y="765"/>
                  </a:lnTo>
                  <a:lnTo>
                    <a:pt x="3570" y="803"/>
                  </a:lnTo>
                  <a:close/>
                  <a:moveTo>
                    <a:pt x="3570" y="741"/>
                  </a:moveTo>
                  <a:lnTo>
                    <a:pt x="3541" y="741"/>
                  </a:lnTo>
                  <a:lnTo>
                    <a:pt x="3541" y="703"/>
                  </a:lnTo>
                  <a:lnTo>
                    <a:pt x="3570" y="703"/>
                  </a:lnTo>
                  <a:lnTo>
                    <a:pt x="3570" y="741"/>
                  </a:lnTo>
                  <a:close/>
                  <a:moveTo>
                    <a:pt x="3570" y="682"/>
                  </a:moveTo>
                  <a:lnTo>
                    <a:pt x="3541" y="682"/>
                  </a:lnTo>
                  <a:lnTo>
                    <a:pt x="3541" y="644"/>
                  </a:lnTo>
                  <a:lnTo>
                    <a:pt x="3570" y="644"/>
                  </a:lnTo>
                  <a:lnTo>
                    <a:pt x="3570" y="682"/>
                  </a:lnTo>
                  <a:close/>
                  <a:moveTo>
                    <a:pt x="3570" y="620"/>
                  </a:moveTo>
                  <a:lnTo>
                    <a:pt x="3541" y="620"/>
                  </a:lnTo>
                  <a:lnTo>
                    <a:pt x="3541" y="582"/>
                  </a:lnTo>
                  <a:lnTo>
                    <a:pt x="3570" y="582"/>
                  </a:lnTo>
                  <a:lnTo>
                    <a:pt x="3570" y="620"/>
                  </a:lnTo>
                  <a:close/>
                  <a:moveTo>
                    <a:pt x="3570" y="499"/>
                  </a:moveTo>
                  <a:lnTo>
                    <a:pt x="3541" y="499"/>
                  </a:lnTo>
                  <a:lnTo>
                    <a:pt x="3541" y="461"/>
                  </a:lnTo>
                  <a:lnTo>
                    <a:pt x="3570" y="461"/>
                  </a:lnTo>
                  <a:lnTo>
                    <a:pt x="3570" y="499"/>
                  </a:lnTo>
                  <a:close/>
                  <a:moveTo>
                    <a:pt x="3570" y="437"/>
                  </a:moveTo>
                  <a:lnTo>
                    <a:pt x="3541" y="437"/>
                  </a:lnTo>
                  <a:lnTo>
                    <a:pt x="3541" y="399"/>
                  </a:lnTo>
                  <a:lnTo>
                    <a:pt x="3570" y="399"/>
                  </a:lnTo>
                  <a:lnTo>
                    <a:pt x="3570" y="437"/>
                  </a:lnTo>
                  <a:close/>
                  <a:moveTo>
                    <a:pt x="3570" y="378"/>
                  </a:moveTo>
                  <a:lnTo>
                    <a:pt x="3541" y="378"/>
                  </a:lnTo>
                  <a:lnTo>
                    <a:pt x="3541" y="337"/>
                  </a:lnTo>
                  <a:lnTo>
                    <a:pt x="3570" y="337"/>
                  </a:lnTo>
                  <a:lnTo>
                    <a:pt x="3570" y="378"/>
                  </a:lnTo>
                  <a:close/>
                  <a:moveTo>
                    <a:pt x="3570" y="316"/>
                  </a:moveTo>
                  <a:lnTo>
                    <a:pt x="3541" y="316"/>
                  </a:lnTo>
                  <a:lnTo>
                    <a:pt x="3541" y="278"/>
                  </a:lnTo>
                  <a:lnTo>
                    <a:pt x="3570" y="278"/>
                  </a:lnTo>
                  <a:lnTo>
                    <a:pt x="3570" y="316"/>
                  </a:lnTo>
                  <a:close/>
                  <a:moveTo>
                    <a:pt x="3619" y="986"/>
                  </a:moveTo>
                  <a:lnTo>
                    <a:pt x="3593" y="986"/>
                  </a:lnTo>
                  <a:lnTo>
                    <a:pt x="3593" y="948"/>
                  </a:lnTo>
                  <a:lnTo>
                    <a:pt x="3619" y="948"/>
                  </a:lnTo>
                  <a:lnTo>
                    <a:pt x="3619" y="986"/>
                  </a:lnTo>
                  <a:close/>
                  <a:moveTo>
                    <a:pt x="3619" y="924"/>
                  </a:moveTo>
                  <a:lnTo>
                    <a:pt x="3593" y="924"/>
                  </a:lnTo>
                  <a:lnTo>
                    <a:pt x="3593" y="886"/>
                  </a:lnTo>
                  <a:lnTo>
                    <a:pt x="3619" y="886"/>
                  </a:lnTo>
                  <a:lnTo>
                    <a:pt x="3619" y="924"/>
                  </a:lnTo>
                  <a:close/>
                  <a:moveTo>
                    <a:pt x="3619" y="865"/>
                  </a:moveTo>
                  <a:lnTo>
                    <a:pt x="3593" y="865"/>
                  </a:lnTo>
                  <a:lnTo>
                    <a:pt x="3593" y="827"/>
                  </a:lnTo>
                  <a:lnTo>
                    <a:pt x="3619" y="827"/>
                  </a:lnTo>
                  <a:lnTo>
                    <a:pt x="3619" y="865"/>
                  </a:lnTo>
                  <a:close/>
                  <a:moveTo>
                    <a:pt x="3619" y="803"/>
                  </a:moveTo>
                  <a:lnTo>
                    <a:pt x="3593" y="803"/>
                  </a:lnTo>
                  <a:lnTo>
                    <a:pt x="3593" y="765"/>
                  </a:lnTo>
                  <a:lnTo>
                    <a:pt x="3619" y="765"/>
                  </a:lnTo>
                  <a:lnTo>
                    <a:pt x="3619" y="803"/>
                  </a:lnTo>
                  <a:close/>
                  <a:moveTo>
                    <a:pt x="3619" y="682"/>
                  </a:moveTo>
                  <a:lnTo>
                    <a:pt x="3593" y="682"/>
                  </a:lnTo>
                  <a:lnTo>
                    <a:pt x="3593" y="644"/>
                  </a:lnTo>
                  <a:lnTo>
                    <a:pt x="3619" y="644"/>
                  </a:lnTo>
                  <a:lnTo>
                    <a:pt x="3619" y="682"/>
                  </a:lnTo>
                  <a:close/>
                  <a:moveTo>
                    <a:pt x="3619" y="620"/>
                  </a:moveTo>
                  <a:lnTo>
                    <a:pt x="3593" y="620"/>
                  </a:lnTo>
                  <a:lnTo>
                    <a:pt x="3593" y="582"/>
                  </a:lnTo>
                  <a:lnTo>
                    <a:pt x="3619" y="582"/>
                  </a:lnTo>
                  <a:lnTo>
                    <a:pt x="3619" y="620"/>
                  </a:lnTo>
                  <a:close/>
                  <a:moveTo>
                    <a:pt x="3619" y="558"/>
                  </a:moveTo>
                  <a:lnTo>
                    <a:pt x="3593" y="558"/>
                  </a:lnTo>
                  <a:lnTo>
                    <a:pt x="3593" y="520"/>
                  </a:lnTo>
                  <a:lnTo>
                    <a:pt x="3619" y="520"/>
                  </a:lnTo>
                  <a:lnTo>
                    <a:pt x="3619" y="558"/>
                  </a:lnTo>
                  <a:close/>
                  <a:moveTo>
                    <a:pt x="3619" y="499"/>
                  </a:moveTo>
                  <a:lnTo>
                    <a:pt x="3593" y="499"/>
                  </a:lnTo>
                  <a:lnTo>
                    <a:pt x="3593" y="461"/>
                  </a:lnTo>
                  <a:lnTo>
                    <a:pt x="3619" y="461"/>
                  </a:lnTo>
                  <a:lnTo>
                    <a:pt x="3619" y="499"/>
                  </a:lnTo>
                  <a:close/>
                  <a:moveTo>
                    <a:pt x="3619" y="437"/>
                  </a:moveTo>
                  <a:lnTo>
                    <a:pt x="3593" y="437"/>
                  </a:lnTo>
                  <a:lnTo>
                    <a:pt x="3593" y="399"/>
                  </a:lnTo>
                  <a:lnTo>
                    <a:pt x="3619" y="399"/>
                  </a:lnTo>
                  <a:lnTo>
                    <a:pt x="3619" y="437"/>
                  </a:lnTo>
                  <a:close/>
                  <a:moveTo>
                    <a:pt x="3619" y="378"/>
                  </a:moveTo>
                  <a:lnTo>
                    <a:pt x="3593" y="378"/>
                  </a:lnTo>
                  <a:lnTo>
                    <a:pt x="3593" y="337"/>
                  </a:lnTo>
                  <a:lnTo>
                    <a:pt x="3619" y="337"/>
                  </a:lnTo>
                  <a:lnTo>
                    <a:pt x="3619" y="378"/>
                  </a:lnTo>
                  <a:close/>
                  <a:moveTo>
                    <a:pt x="3619" y="316"/>
                  </a:moveTo>
                  <a:lnTo>
                    <a:pt x="3593" y="316"/>
                  </a:lnTo>
                  <a:lnTo>
                    <a:pt x="3593" y="278"/>
                  </a:lnTo>
                  <a:lnTo>
                    <a:pt x="3619" y="278"/>
                  </a:lnTo>
                  <a:lnTo>
                    <a:pt x="3619" y="316"/>
                  </a:lnTo>
                  <a:close/>
                  <a:moveTo>
                    <a:pt x="3669" y="986"/>
                  </a:moveTo>
                  <a:lnTo>
                    <a:pt x="3643" y="986"/>
                  </a:lnTo>
                  <a:lnTo>
                    <a:pt x="3643" y="948"/>
                  </a:lnTo>
                  <a:lnTo>
                    <a:pt x="3669" y="948"/>
                  </a:lnTo>
                  <a:lnTo>
                    <a:pt x="3669" y="986"/>
                  </a:lnTo>
                  <a:close/>
                  <a:moveTo>
                    <a:pt x="3669" y="865"/>
                  </a:moveTo>
                  <a:lnTo>
                    <a:pt x="3643" y="865"/>
                  </a:lnTo>
                  <a:lnTo>
                    <a:pt x="3643" y="827"/>
                  </a:lnTo>
                  <a:lnTo>
                    <a:pt x="3669" y="827"/>
                  </a:lnTo>
                  <a:lnTo>
                    <a:pt x="3669" y="865"/>
                  </a:lnTo>
                  <a:close/>
                  <a:moveTo>
                    <a:pt x="3669" y="803"/>
                  </a:moveTo>
                  <a:lnTo>
                    <a:pt x="3643" y="803"/>
                  </a:lnTo>
                  <a:lnTo>
                    <a:pt x="3643" y="765"/>
                  </a:lnTo>
                  <a:lnTo>
                    <a:pt x="3669" y="765"/>
                  </a:lnTo>
                  <a:lnTo>
                    <a:pt x="3669" y="803"/>
                  </a:lnTo>
                  <a:close/>
                  <a:moveTo>
                    <a:pt x="3669" y="741"/>
                  </a:moveTo>
                  <a:lnTo>
                    <a:pt x="3643" y="741"/>
                  </a:lnTo>
                  <a:lnTo>
                    <a:pt x="3643" y="703"/>
                  </a:lnTo>
                  <a:lnTo>
                    <a:pt x="3669" y="703"/>
                  </a:lnTo>
                  <a:lnTo>
                    <a:pt x="3669" y="741"/>
                  </a:lnTo>
                  <a:close/>
                  <a:moveTo>
                    <a:pt x="3669" y="682"/>
                  </a:moveTo>
                  <a:lnTo>
                    <a:pt x="3643" y="682"/>
                  </a:lnTo>
                  <a:lnTo>
                    <a:pt x="3643" y="644"/>
                  </a:lnTo>
                  <a:lnTo>
                    <a:pt x="3669" y="644"/>
                  </a:lnTo>
                  <a:lnTo>
                    <a:pt x="3669" y="682"/>
                  </a:lnTo>
                  <a:close/>
                  <a:moveTo>
                    <a:pt x="3669" y="620"/>
                  </a:moveTo>
                  <a:lnTo>
                    <a:pt x="3643" y="620"/>
                  </a:lnTo>
                  <a:lnTo>
                    <a:pt x="3643" y="582"/>
                  </a:lnTo>
                  <a:lnTo>
                    <a:pt x="3669" y="582"/>
                  </a:lnTo>
                  <a:lnTo>
                    <a:pt x="3669" y="620"/>
                  </a:lnTo>
                  <a:close/>
                  <a:moveTo>
                    <a:pt x="3669" y="558"/>
                  </a:moveTo>
                  <a:lnTo>
                    <a:pt x="3643" y="558"/>
                  </a:lnTo>
                  <a:lnTo>
                    <a:pt x="3643" y="520"/>
                  </a:lnTo>
                  <a:lnTo>
                    <a:pt x="3669" y="520"/>
                  </a:lnTo>
                  <a:lnTo>
                    <a:pt x="3669" y="558"/>
                  </a:lnTo>
                  <a:close/>
                  <a:moveTo>
                    <a:pt x="3669" y="499"/>
                  </a:moveTo>
                  <a:lnTo>
                    <a:pt x="3643" y="499"/>
                  </a:lnTo>
                  <a:lnTo>
                    <a:pt x="3643" y="461"/>
                  </a:lnTo>
                  <a:lnTo>
                    <a:pt x="3669" y="461"/>
                  </a:lnTo>
                  <a:lnTo>
                    <a:pt x="3669" y="499"/>
                  </a:lnTo>
                  <a:close/>
                  <a:moveTo>
                    <a:pt x="3669" y="378"/>
                  </a:moveTo>
                  <a:lnTo>
                    <a:pt x="3643" y="378"/>
                  </a:lnTo>
                  <a:lnTo>
                    <a:pt x="3643" y="337"/>
                  </a:lnTo>
                  <a:lnTo>
                    <a:pt x="3669" y="337"/>
                  </a:lnTo>
                  <a:lnTo>
                    <a:pt x="3669" y="378"/>
                  </a:lnTo>
                  <a:close/>
                  <a:moveTo>
                    <a:pt x="3669" y="316"/>
                  </a:moveTo>
                  <a:lnTo>
                    <a:pt x="3643" y="316"/>
                  </a:lnTo>
                  <a:lnTo>
                    <a:pt x="3643" y="278"/>
                  </a:lnTo>
                  <a:lnTo>
                    <a:pt x="3669" y="278"/>
                  </a:lnTo>
                  <a:lnTo>
                    <a:pt x="3669" y="316"/>
                  </a:lnTo>
                  <a:close/>
                </a:path>
              </a:pathLst>
            </a:custGeom>
            <a:solidFill>
              <a:schemeClr val="tx2">
                <a:lumMod val="60000"/>
                <a:lumOff val="4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nvGrpSpPr>
            <p:cNvPr id="131" name="Group 130">
              <a:extLst>
                <a:ext uri="{FF2B5EF4-FFF2-40B4-BE49-F238E27FC236}">
                  <a16:creationId xmlns:a16="http://schemas.microsoft.com/office/drawing/2014/main" id="{0211D44E-29A6-4D4D-81CC-8AEF3E0BB218}"/>
                </a:ext>
              </a:extLst>
            </p:cNvPr>
            <p:cNvGrpSpPr/>
            <p:nvPr/>
          </p:nvGrpSpPr>
          <p:grpSpPr>
            <a:xfrm>
              <a:off x="7145356" y="2985253"/>
              <a:ext cx="523560" cy="1764642"/>
              <a:chOff x="398463" y="2662238"/>
              <a:chExt cx="612775" cy="2065338"/>
            </a:xfrm>
          </p:grpSpPr>
          <p:sp>
            <p:nvSpPr>
              <p:cNvPr id="407" name="Freeform 87">
                <a:extLst>
                  <a:ext uri="{FF2B5EF4-FFF2-40B4-BE49-F238E27FC236}">
                    <a16:creationId xmlns:a16="http://schemas.microsoft.com/office/drawing/2014/main" id="{5BD065DE-D158-D54A-AE82-DEED15E567B6}"/>
                  </a:ext>
                </a:extLst>
              </p:cNvPr>
              <p:cNvSpPr>
                <a:spLocks/>
              </p:cNvSpPr>
              <p:nvPr/>
            </p:nvSpPr>
            <p:spPr bwMode="auto">
              <a:xfrm>
                <a:off x="398463" y="2662238"/>
                <a:ext cx="612775" cy="2065338"/>
              </a:xfrm>
              <a:custGeom>
                <a:avLst/>
                <a:gdLst>
                  <a:gd name="T0" fmla="*/ 342 w 386"/>
                  <a:gd name="T1" fmla="*/ 168 h 1301"/>
                  <a:gd name="T2" fmla="*/ 342 w 386"/>
                  <a:gd name="T3" fmla="*/ 82 h 1301"/>
                  <a:gd name="T4" fmla="*/ 306 w 386"/>
                  <a:gd name="T5" fmla="*/ 82 h 1301"/>
                  <a:gd name="T6" fmla="*/ 306 w 386"/>
                  <a:gd name="T7" fmla="*/ 0 h 1301"/>
                  <a:gd name="T8" fmla="*/ 71 w 386"/>
                  <a:gd name="T9" fmla="*/ 0 h 1301"/>
                  <a:gd name="T10" fmla="*/ 71 w 386"/>
                  <a:gd name="T11" fmla="*/ 82 h 1301"/>
                  <a:gd name="T12" fmla="*/ 35 w 386"/>
                  <a:gd name="T13" fmla="*/ 82 h 1301"/>
                  <a:gd name="T14" fmla="*/ 35 w 386"/>
                  <a:gd name="T15" fmla="*/ 168 h 1301"/>
                  <a:gd name="T16" fmla="*/ 0 w 386"/>
                  <a:gd name="T17" fmla="*/ 168 h 1301"/>
                  <a:gd name="T18" fmla="*/ 0 w 386"/>
                  <a:gd name="T19" fmla="*/ 1301 h 1301"/>
                  <a:gd name="T20" fmla="*/ 386 w 386"/>
                  <a:gd name="T21" fmla="*/ 1301 h 1301"/>
                  <a:gd name="T22" fmla="*/ 386 w 386"/>
                  <a:gd name="T23" fmla="*/ 168 h 1301"/>
                  <a:gd name="T24" fmla="*/ 342 w 386"/>
                  <a:gd name="T25" fmla="*/ 168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1301">
                    <a:moveTo>
                      <a:pt x="342" y="168"/>
                    </a:moveTo>
                    <a:lnTo>
                      <a:pt x="342" y="82"/>
                    </a:lnTo>
                    <a:lnTo>
                      <a:pt x="306" y="82"/>
                    </a:lnTo>
                    <a:lnTo>
                      <a:pt x="306" y="0"/>
                    </a:lnTo>
                    <a:lnTo>
                      <a:pt x="71" y="0"/>
                    </a:lnTo>
                    <a:lnTo>
                      <a:pt x="71" y="82"/>
                    </a:lnTo>
                    <a:lnTo>
                      <a:pt x="35" y="82"/>
                    </a:lnTo>
                    <a:lnTo>
                      <a:pt x="35" y="168"/>
                    </a:lnTo>
                    <a:lnTo>
                      <a:pt x="0" y="168"/>
                    </a:lnTo>
                    <a:lnTo>
                      <a:pt x="0" y="1301"/>
                    </a:lnTo>
                    <a:lnTo>
                      <a:pt x="386" y="1301"/>
                    </a:lnTo>
                    <a:lnTo>
                      <a:pt x="386" y="168"/>
                    </a:lnTo>
                    <a:lnTo>
                      <a:pt x="342" y="168"/>
                    </a:lnTo>
                    <a:close/>
                  </a:path>
                </a:pathLst>
              </a:custGeom>
              <a:solidFill>
                <a:srgbClr val="8AC64F"/>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08" name="Rectangle 88">
                <a:extLst>
                  <a:ext uri="{FF2B5EF4-FFF2-40B4-BE49-F238E27FC236}">
                    <a16:creationId xmlns:a16="http://schemas.microsoft.com/office/drawing/2014/main" id="{7FA29B35-AB10-3C4F-8F03-D6A75147AF15}"/>
                  </a:ext>
                </a:extLst>
              </p:cNvPr>
              <p:cNvSpPr>
                <a:spLocks noChangeArrowheads="1"/>
              </p:cNvSpPr>
              <p:nvPr/>
            </p:nvSpPr>
            <p:spPr bwMode="auto">
              <a:xfrm>
                <a:off x="482600" y="3027363"/>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09" name="Rectangle 89">
                <a:extLst>
                  <a:ext uri="{FF2B5EF4-FFF2-40B4-BE49-F238E27FC236}">
                    <a16:creationId xmlns:a16="http://schemas.microsoft.com/office/drawing/2014/main" id="{F8109230-B8C4-BA48-81DD-2EB4F0BF7F59}"/>
                  </a:ext>
                </a:extLst>
              </p:cNvPr>
              <p:cNvSpPr>
                <a:spLocks noChangeArrowheads="1"/>
              </p:cNvSpPr>
              <p:nvPr/>
            </p:nvSpPr>
            <p:spPr bwMode="auto">
              <a:xfrm>
                <a:off x="601663" y="3027363"/>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0" name="Rectangle 90">
                <a:extLst>
                  <a:ext uri="{FF2B5EF4-FFF2-40B4-BE49-F238E27FC236}">
                    <a16:creationId xmlns:a16="http://schemas.microsoft.com/office/drawing/2014/main" id="{47674410-5903-CA4A-9BC2-6E6582A1C103}"/>
                  </a:ext>
                </a:extLst>
              </p:cNvPr>
              <p:cNvSpPr>
                <a:spLocks noChangeArrowheads="1"/>
              </p:cNvSpPr>
              <p:nvPr/>
            </p:nvSpPr>
            <p:spPr bwMode="auto">
              <a:xfrm>
                <a:off x="719138" y="3027363"/>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1" name="Rectangle 91">
                <a:extLst>
                  <a:ext uri="{FF2B5EF4-FFF2-40B4-BE49-F238E27FC236}">
                    <a16:creationId xmlns:a16="http://schemas.microsoft.com/office/drawing/2014/main" id="{0B2CDC4F-C3B5-2D42-8343-D9DFAB553FB0}"/>
                  </a:ext>
                </a:extLst>
              </p:cNvPr>
              <p:cNvSpPr>
                <a:spLocks noChangeArrowheads="1"/>
              </p:cNvSpPr>
              <p:nvPr/>
            </p:nvSpPr>
            <p:spPr bwMode="auto">
              <a:xfrm>
                <a:off x="838200" y="3027363"/>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2" name="Rectangle 92">
                <a:extLst>
                  <a:ext uri="{FF2B5EF4-FFF2-40B4-BE49-F238E27FC236}">
                    <a16:creationId xmlns:a16="http://schemas.microsoft.com/office/drawing/2014/main" id="{58971315-4BCC-8A42-8B08-8EA4BAC38642}"/>
                  </a:ext>
                </a:extLst>
              </p:cNvPr>
              <p:cNvSpPr>
                <a:spLocks noChangeArrowheads="1"/>
              </p:cNvSpPr>
              <p:nvPr/>
            </p:nvSpPr>
            <p:spPr bwMode="auto">
              <a:xfrm>
                <a:off x="482600" y="3257550"/>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3" name="Rectangle 93">
                <a:extLst>
                  <a:ext uri="{FF2B5EF4-FFF2-40B4-BE49-F238E27FC236}">
                    <a16:creationId xmlns:a16="http://schemas.microsoft.com/office/drawing/2014/main" id="{D141EC2E-CC26-6544-9111-A54936F2066F}"/>
                  </a:ext>
                </a:extLst>
              </p:cNvPr>
              <p:cNvSpPr>
                <a:spLocks noChangeArrowheads="1"/>
              </p:cNvSpPr>
              <p:nvPr/>
            </p:nvSpPr>
            <p:spPr bwMode="auto">
              <a:xfrm>
                <a:off x="601663" y="3257550"/>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4" name="Rectangle 94">
                <a:extLst>
                  <a:ext uri="{FF2B5EF4-FFF2-40B4-BE49-F238E27FC236}">
                    <a16:creationId xmlns:a16="http://schemas.microsoft.com/office/drawing/2014/main" id="{5627F5E5-359F-4D48-A513-A72F8661CFBE}"/>
                  </a:ext>
                </a:extLst>
              </p:cNvPr>
              <p:cNvSpPr>
                <a:spLocks noChangeArrowheads="1"/>
              </p:cNvSpPr>
              <p:nvPr/>
            </p:nvSpPr>
            <p:spPr bwMode="auto">
              <a:xfrm>
                <a:off x="719138" y="3257550"/>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5" name="Rectangle 95">
                <a:extLst>
                  <a:ext uri="{FF2B5EF4-FFF2-40B4-BE49-F238E27FC236}">
                    <a16:creationId xmlns:a16="http://schemas.microsoft.com/office/drawing/2014/main" id="{11FAEC31-371C-6846-AC02-C0D5F00F01FE}"/>
                  </a:ext>
                </a:extLst>
              </p:cNvPr>
              <p:cNvSpPr>
                <a:spLocks noChangeArrowheads="1"/>
              </p:cNvSpPr>
              <p:nvPr/>
            </p:nvSpPr>
            <p:spPr bwMode="auto">
              <a:xfrm>
                <a:off x="838200" y="3257550"/>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6" name="Rectangle 96">
                <a:extLst>
                  <a:ext uri="{FF2B5EF4-FFF2-40B4-BE49-F238E27FC236}">
                    <a16:creationId xmlns:a16="http://schemas.microsoft.com/office/drawing/2014/main" id="{38FC359F-3952-E04B-84FC-9091E4D730B2}"/>
                  </a:ext>
                </a:extLst>
              </p:cNvPr>
              <p:cNvSpPr>
                <a:spLocks noChangeArrowheads="1"/>
              </p:cNvSpPr>
              <p:nvPr/>
            </p:nvSpPr>
            <p:spPr bwMode="auto">
              <a:xfrm>
                <a:off x="482600" y="3486150"/>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7" name="Rectangle 97">
                <a:extLst>
                  <a:ext uri="{FF2B5EF4-FFF2-40B4-BE49-F238E27FC236}">
                    <a16:creationId xmlns:a16="http://schemas.microsoft.com/office/drawing/2014/main" id="{5E2BFD08-DA31-A748-B8F8-8C8A4C160CC7}"/>
                  </a:ext>
                </a:extLst>
              </p:cNvPr>
              <p:cNvSpPr>
                <a:spLocks noChangeArrowheads="1"/>
              </p:cNvSpPr>
              <p:nvPr/>
            </p:nvSpPr>
            <p:spPr bwMode="auto">
              <a:xfrm>
                <a:off x="601663" y="3486150"/>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8" name="Rectangle 98">
                <a:extLst>
                  <a:ext uri="{FF2B5EF4-FFF2-40B4-BE49-F238E27FC236}">
                    <a16:creationId xmlns:a16="http://schemas.microsoft.com/office/drawing/2014/main" id="{AC21E269-E676-C94F-9893-7CF3440741DC}"/>
                  </a:ext>
                </a:extLst>
              </p:cNvPr>
              <p:cNvSpPr>
                <a:spLocks noChangeArrowheads="1"/>
              </p:cNvSpPr>
              <p:nvPr/>
            </p:nvSpPr>
            <p:spPr bwMode="auto">
              <a:xfrm>
                <a:off x="719138" y="3486150"/>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19" name="Rectangle 99">
                <a:extLst>
                  <a:ext uri="{FF2B5EF4-FFF2-40B4-BE49-F238E27FC236}">
                    <a16:creationId xmlns:a16="http://schemas.microsoft.com/office/drawing/2014/main" id="{9814AE88-F57B-1A42-A737-249F8FF62F36}"/>
                  </a:ext>
                </a:extLst>
              </p:cNvPr>
              <p:cNvSpPr>
                <a:spLocks noChangeArrowheads="1"/>
              </p:cNvSpPr>
              <p:nvPr/>
            </p:nvSpPr>
            <p:spPr bwMode="auto">
              <a:xfrm>
                <a:off x="838200" y="3486150"/>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20" name="Rectangle 100">
                <a:extLst>
                  <a:ext uri="{FF2B5EF4-FFF2-40B4-BE49-F238E27FC236}">
                    <a16:creationId xmlns:a16="http://schemas.microsoft.com/office/drawing/2014/main" id="{DF623CC4-D54D-0641-B224-DA75FC03668E}"/>
                  </a:ext>
                </a:extLst>
              </p:cNvPr>
              <p:cNvSpPr>
                <a:spLocks noChangeArrowheads="1"/>
              </p:cNvSpPr>
              <p:nvPr/>
            </p:nvSpPr>
            <p:spPr bwMode="auto">
              <a:xfrm>
                <a:off x="482600" y="3713163"/>
                <a:ext cx="76200" cy="16827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21" name="Rectangle 101">
                <a:extLst>
                  <a:ext uri="{FF2B5EF4-FFF2-40B4-BE49-F238E27FC236}">
                    <a16:creationId xmlns:a16="http://schemas.microsoft.com/office/drawing/2014/main" id="{FADB5CE9-4416-2D4F-8DCD-378131545867}"/>
                  </a:ext>
                </a:extLst>
              </p:cNvPr>
              <p:cNvSpPr>
                <a:spLocks noChangeArrowheads="1"/>
              </p:cNvSpPr>
              <p:nvPr/>
            </p:nvSpPr>
            <p:spPr bwMode="auto">
              <a:xfrm>
                <a:off x="601663" y="3713163"/>
                <a:ext cx="74613" cy="16827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22" name="Rectangle 102">
                <a:extLst>
                  <a:ext uri="{FF2B5EF4-FFF2-40B4-BE49-F238E27FC236}">
                    <a16:creationId xmlns:a16="http://schemas.microsoft.com/office/drawing/2014/main" id="{76A6BDE6-F0F5-1F42-9270-05C998961AF2}"/>
                  </a:ext>
                </a:extLst>
              </p:cNvPr>
              <p:cNvSpPr>
                <a:spLocks noChangeArrowheads="1"/>
              </p:cNvSpPr>
              <p:nvPr/>
            </p:nvSpPr>
            <p:spPr bwMode="auto">
              <a:xfrm>
                <a:off x="719138" y="3713163"/>
                <a:ext cx="76200" cy="16827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23" name="Rectangle 103">
                <a:extLst>
                  <a:ext uri="{FF2B5EF4-FFF2-40B4-BE49-F238E27FC236}">
                    <a16:creationId xmlns:a16="http://schemas.microsoft.com/office/drawing/2014/main" id="{3525DA88-D558-CC43-B1DB-97429FDFCF6B}"/>
                  </a:ext>
                </a:extLst>
              </p:cNvPr>
              <p:cNvSpPr>
                <a:spLocks noChangeArrowheads="1"/>
              </p:cNvSpPr>
              <p:nvPr/>
            </p:nvSpPr>
            <p:spPr bwMode="auto">
              <a:xfrm>
                <a:off x="838200" y="3713163"/>
                <a:ext cx="74613" cy="16827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32" name="Group 131">
              <a:extLst>
                <a:ext uri="{FF2B5EF4-FFF2-40B4-BE49-F238E27FC236}">
                  <a16:creationId xmlns:a16="http://schemas.microsoft.com/office/drawing/2014/main" id="{7DE33F29-F9CC-9C42-B574-EC507FF864E8}"/>
                </a:ext>
              </a:extLst>
            </p:cNvPr>
            <p:cNvGrpSpPr/>
            <p:nvPr/>
          </p:nvGrpSpPr>
          <p:grpSpPr>
            <a:xfrm>
              <a:off x="8037397" y="3941461"/>
              <a:ext cx="427435" cy="808435"/>
              <a:chOff x="327025" y="3622675"/>
              <a:chExt cx="569913" cy="1077913"/>
            </a:xfrm>
          </p:grpSpPr>
          <p:sp>
            <p:nvSpPr>
              <p:cNvPr id="402" name="Freeform 149">
                <a:extLst>
                  <a:ext uri="{FF2B5EF4-FFF2-40B4-BE49-F238E27FC236}">
                    <a16:creationId xmlns:a16="http://schemas.microsoft.com/office/drawing/2014/main" id="{AF59870C-3402-C447-BDEA-95A9B39DD4AA}"/>
                  </a:ext>
                </a:extLst>
              </p:cNvPr>
              <p:cNvSpPr>
                <a:spLocks/>
              </p:cNvSpPr>
              <p:nvPr/>
            </p:nvSpPr>
            <p:spPr bwMode="auto">
              <a:xfrm>
                <a:off x="327025" y="3622675"/>
                <a:ext cx="569913" cy="1077913"/>
              </a:xfrm>
              <a:custGeom>
                <a:avLst/>
                <a:gdLst>
                  <a:gd name="T0" fmla="*/ 359 w 359"/>
                  <a:gd name="T1" fmla="*/ 679 h 679"/>
                  <a:gd name="T2" fmla="*/ 0 w 359"/>
                  <a:gd name="T3" fmla="*/ 679 h 679"/>
                  <a:gd name="T4" fmla="*/ 0 w 359"/>
                  <a:gd name="T5" fmla="*/ 242 h 679"/>
                  <a:gd name="T6" fmla="*/ 179 w 359"/>
                  <a:gd name="T7" fmla="*/ 0 h 679"/>
                  <a:gd name="T8" fmla="*/ 359 w 359"/>
                  <a:gd name="T9" fmla="*/ 242 h 679"/>
                  <a:gd name="T10" fmla="*/ 359 w 359"/>
                  <a:gd name="T11" fmla="*/ 679 h 679"/>
                </a:gdLst>
                <a:ahLst/>
                <a:cxnLst>
                  <a:cxn ang="0">
                    <a:pos x="T0" y="T1"/>
                  </a:cxn>
                  <a:cxn ang="0">
                    <a:pos x="T2" y="T3"/>
                  </a:cxn>
                  <a:cxn ang="0">
                    <a:pos x="T4" y="T5"/>
                  </a:cxn>
                  <a:cxn ang="0">
                    <a:pos x="T6" y="T7"/>
                  </a:cxn>
                  <a:cxn ang="0">
                    <a:pos x="T8" y="T9"/>
                  </a:cxn>
                  <a:cxn ang="0">
                    <a:pos x="T10" y="T11"/>
                  </a:cxn>
                </a:cxnLst>
                <a:rect l="0" t="0" r="r" b="b"/>
                <a:pathLst>
                  <a:path w="359" h="679">
                    <a:moveTo>
                      <a:pt x="359" y="679"/>
                    </a:moveTo>
                    <a:lnTo>
                      <a:pt x="0" y="679"/>
                    </a:lnTo>
                    <a:lnTo>
                      <a:pt x="0" y="242"/>
                    </a:lnTo>
                    <a:lnTo>
                      <a:pt x="179" y="0"/>
                    </a:lnTo>
                    <a:lnTo>
                      <a:pt x="359" y="242"/>
                    </a:lnTo>
                    <a:lnTo>
                      <a:pt x="359" y="67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03" name="Rectangle 150">
                <a:extLst>
                  <a:ext uri="{FF2B5EF4-FFF2-40B4-BE49-F238E27FC236}">
                    <a16:creationId xmlns:a16="http://schemas.microsoft.com/office/drawing/2014/main" id="{39490112-1AA6-7940-94CE-9A74B43F9887}"/>
                  </a:ext>
                </a:extLst>
              </p:cNvPr>
              <p:cNvSpPr>
                <a:spLocks noChangeArrowheads="1"/>
              </p:cNvSpPr>
              <p:nvPr/>
            </p:nvSpPr>
            <p:spPr bwMode="auto">
              <a:xfrm>
                <a:off x="503238" y="3911600"/>
                <a:ext cx="76200" cy="166688"/>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04" name="Rectangle 151">
                <a:extLst>
                  <a:ext uri="{FF2B5EF4-FFF2-40B4-BE49-F238E27FC236}">
                    <a16:creationId xmlns:a16="http://schemas.microsoft.com/office/drawing/2014/main" id="{A3B3D637-91AD-DE47-B3C6-F8117CAF4C06}"/>
                  </a:ext>
                </a:extLst>
              </p:cNvPr>
              <p:cNvSpPr>
                <a:spLocks noChangeArrowheads="1"/>
              </p:cNvSpPr>
              <p:nvPr/>
            </p:nvSpPr>
            <p:spPr bwMode="auto">
              <a:xfrm>
                <a:off x="622300" y="3911600"/>
                <a:ext cx="76200" cy="166688"/>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05" name="Rectangle 152">
                <a:extLst>
                  <a:ext uri="{FF2B5EF4-FFF2-40B4-BE49-F238E27FC236}">
                    <a16:creationId xmlns:a16="http://schemas.microsoft.com/office/drawing/2014/main" id="{B2DCF5AC-756F-4F4D-B86D-D607B3D52834}"/>
                  </a:ext>
                </a:extLst>
              </p:cNvPr>
              <p:cNvSpPr>
                <a:spLocks noChangeArrowheads="1"/>
              </p:cNvSpPr>
              <p:nvPr/>
            </p:nvSpPr>
            <p:spPr bwMode="auto">
              <a:xfrm>
                <a:off x="503238" y="4133850"/>
                <a:ext cx="76200" cy="166688"/>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06" name="Rectangle 153">
                <a:extLst>
                  <a:ext uri="{FF2B5EF4-FFF2-40B4-BE49-F238E27FC236}">
                    <a16:creationId xmlns:a16="http://schemas.microsoft.com/office/drawing/2014/main" id="{287597F0-2C29-7146-B2BD-928929D9D15E}"/>
                  </a:ext>
                </a:extLst>
              </p:cNvPr>
              <p:cNvSpPr>
                <a:spLocks noChangeArrowheads="1"/>
              </p:cNvSpPr>
              <p:nvPr/>
            </p:nvSpPr>
            <p:spPr bwMode="auto">
              <a:xfrm>
                <a:off x="622300" y="4133850"/>
                <a:ext cx="76200" cy="166688"/>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33" name="Group 132">
              <a:extLst>
                <a:ext uri="{FF2B5EF4-FFF2-40B4-BE49-F238E27FC236}">
                  <a16:creationId xmlns:a16="http://schemas.microsoft.com/office/drawing/2014/main" id="{5D7DCA7B-BADC-B145-A45B-19169173F1EA}"/>
                </a:ext>
              </a:extLst>
            </p:cNvPr>
            <p:cNvGrpSpPr/>
            <p:nvPr/>
          </p:nvGrpSpPr>
          <p:grpSpPr>
            <a:xfrm>
              <a:off x="7614507" y="3845020"/>
              <a:ext cx="425054" cy="904875"/>
              <a:chOff x="2600325" y="3494088"/>
              <a:chExt cx="566738" cy="1206500"/>
            </a:xfrm>
          </p:grpSpPr>
          <p:sp>
            <p:nvSpPr>
              <p:cNvPr id="395" name="Freeform 114">
                <a:extLst>
                  <a:ext uri="{FF2B5EF4-FFF2-40B4-BE49-F238E27FC236}">
                    <a16:creationId xmlns:a16="http://schemas.microsoft.com/office/drawing/2014/main" id="{54AAB0A5-32B8-B144-8E66-BD7E91B67261}"/>
                  </a:ext>
                </a:extLst>
              </p:cNvPr>
              <p:cNvSpPr>
                <a:spLocks/>
              </p:cNvSpPr>
              <p:nvPr/>
            </p:nvSpPr>
            <p:spPr bwMode="auto">
              <a:xfrm>
                <a:off x="2600325" y="3494088"/>
                <a:ext cx="566738" cy="1206500"/>
              </a:xfrm>
              <a:custGeom>
                <a:avLst/>
                <a:gdLst>
                  <a:gd name="T0" fmla="*/ 357 w 357"/>
                  <a:gd name="T1" fmla="*/ 760 h 760"/>
                  <a:gd name="T2" fmla="*/ 0 w 357"/>
                  <a:gd name="T3" fmla="*/ 760 h 760"/>
                  <a:gd name="T4" fmla="*/ 0 w 357"/>
                  <a:gd name="T5" fmla="*/ 241 h 760"/>
                  <a:gd name="T6" fmla="*/ 179 w 357"/>
                  <a:gd name="T7" fmla="*/ 0 h 760"/>
                  <a:gd name="T8" fmla="*/ 357 w 357"/>
                  <a:gd name="T9" fmla="*/ 241 h 760"/>
                  <a:gd name="T10" fmla="*/ 357 w 357"/>
                  <a:gd name="T11" fmla="*/ 760 h 760"/>
                </a:gdLst>
                <a:ahLst/>
                <a:cxnLst>
                  <a:cxn ang="0">
                    <a:pos x="T0" y="T1"/>
                  </a:cxn>
                  <a:cxn ang="0">
                    <a:pos x="T2" y="T3"/>
                  </a:cxn>
                  <a:cxn ang="0">
                    <a:pos x="T4" y="T5"/>
                  </a:cxn>
                  <a:cxn ang="0">
                    <a:pos x="T6" y="T7"/>
                  </a:cxn>
                  <a:cxn ang="0">
                    <a:pos x="T8" y="T9"/>
                  </a:cxn>
                  <a:cxn ang="0">
                    <a:pos x="T10" y="T11"/>
                  </a:cxn>
                </a:cxnLst>
                <a:rect l="0" t="0" r="r" b="b"/>
                <a:pathLst>
                  <a:path w="357" h="760">
                    <a:moveTo>
                      <a:pt x="357" y="760"/>
                    </a:moveTo>
                    <a:lnTo>
                      <a:pt x="0" y="760"/>
                    </a:lnTo>
                    <a:lnTo>
                      <a:pt x="0" y="241"/>
                    </a:lnTo>
                    <a:lnTo>
                      <a:pt x="179" y="0"/>
                    </a:lnTo>
                    <a:lnTo>
                      <a:pt x="357" y="241"/>
                    </a:lnTo>
                    <a:lnTo>
                      <a:pt x="357" y="76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96" name="Rectangle 115">
                <a:extLst>
                  <a:ext uri="{FF2B5EF4-FFF2-40B4-BE49-F238E27FC236}">
                    <a16:creationId xmlns:a16="http://schemas.microsoft.com/office/drawing/2014/main" id="{C9B533CE-FE5D-2C45-98DD-763457C717C1}"/>
                  </a:ext>
                </a:extLst>
              </p:cNvPr>
              <p:cNvSpPr>
                <a:spLocks noChangeArrowheads="1"/>
              </p:cNvSpPr>
              <p:nvPr/>
            </p:nvSpPr>
            <p:spPr bwMode="auto">
              <a:xfrm>
                <a:off x="2676525" y="4259263"/>
                <a:ext cx="414338" cy="215900"/>
              </a:xfrm>
              <a:prstGeom prst="rect">
                <a:avLst/>
              </a:prstGeom>
              <a:solidFill>
                <a:schemeClr val="bg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97" name="Freeform 116">
                <a:extLst>
                  <a:ext uri="{FF2B5EF4-FFF2-40B4-BE49-F238E27FC236}">
                    <a16:creationId xmlns:a16="http://schemas.microsoft.com/office/drawing/2014/main" id="{D81C4AD8-24DD-0041-8B06-2068B5B349DD}"/>
                  </a:ext>
                </a:extLst>
              </p:cNvPr>
              <p:cNvSpPr>
                <a:spLocks/>
              </p:cNvSpPr>
              <p:nvPr/>
            </p:nvSpPr>
            <p:spPr bwMode="auto">
              <a:xfrm>
                <a:off x="2628900" y="4148138"/>
                <a:ext cx="511175" cy="149225"/>
              </a:xfrm>
              <a:custGeom>
                <a:avLst/>
                <a:gdLst>
                  <a:gd name="T0" fmla="*/ 253 w 253"/>
                  <a:gd name="T1" fmla="*/ 61 h 74"/>
                  <a:gd name="T2" fmla="*/ 238 w 253"/>
                  <a:gd name="T3" fmla="*/ 0 h 74"/>
                  <a:gd name="T4" fmla="*/ 154 w 253"/>
                  <a:gd name="T5" fmla="*/ 0 h 74"/>
                  <a:gd name="T6" fmla="*/ 102 w 253"/>
                  <a:gd name="T7" fmla="*/ 0 h 74"/>
                  <a:gd name="T8" fmla="*/ 15 w 253"/>
                  <a:gd name="T9" fmla="*/ 0 h 74"/>
                  <a:gd name="T10" fmla="*/ 1 w 253"/>
                  <a:gd name="T11" fmla="*/ 61 h 74"/>
                  <a:gd name="T12" fmla="*/ 0 w 253"/>
                  <a:gd name="T13" fmla="*/ 64 h 74"/>
                  <a:gd name="T14" fmla="*/ 10 w 253"/>
                  <a:gd name="T15" fmla="*/ 74 h 74"/>
                  <a:gd name="T16" fmla="*/ 20 w 253"/>
                  <a:gd name="T17" fmla="*/ 64 h 74"/>
                  <a:gd name="T18" fmla="*/ 29 w 253"/>
                  <a:gd name="T19" fmla="*/ 74 h 74"/>
                  <a:gd name="T20" fmla="*/ 39 w 253"/>
                  <a:gd name="T21" fmla="*/ 64 h 74"/>
                  <a:gd name="T22" fmla="*/ 49 w 253"/>
                  <a:gd name="T23" fmla="*/ 74 h 74"/>
                  <a:gd name="T24" fmla="*/ 59 w 253"/>
                  <a:gd name="T25" fmla="*/ 64 h 74"/>
                  <a:gd name="T26" fmla="*/ 68 w 253"/>
                  <a:gd name="T27" fmla="*/ 74 h 74"/>
                  <a:gd name="T28" fmla="*/ 78 w 253"/>
                  <a:gd name="T29" fmla="*/ 64 h 74"/>
                  <a:gd name="T30" fmla="*/ 88 w 253"/>
                  <a:gd name="T31" fmla="*/ 74 h 74"/>
                  <a:gd name="T32" fmla="*/ 98 w 253"/>
                  <a:gd name="T33" fmla="*/ 64 h 74"/>
                  <a:gd name="T34" fmla="*/ 107 w 253"/>
                  <a:gd name="T35" fmla="*/ 74 h 74"/>
                  <a:gd name="T36" fmla="*/ 117 w 253"/>
                  <a:gd name="T37" fmla="*/ 64 h 74"/>
                  <a:gd name="T38" fmla="*/ 127 w 253"/>
                  <a:gd name="T39" fmla="*/ 74 h 74"/>
                  <a:gd name="T40" fmla="*/ 136 w 253"/>
                  <a:gd name="T41" fmla="*/ 64 h 74"/>
                  <a:gd name="T42" fmla="*/ 146 w 253"/>
                  <a:gd name="T43" fmla="*/ 74 h 74"/>
                  <a:gd name="T44" fmla="*/ 156 w 253"/>
                  <a:gd name="T45" fmla="*/ 64 h 74"/>
                  <a:gd name="T46" fmla="*/ 166 w 253"/>
                  <a:gd name="T47" fmla="*/ 74 h 74"/>
                  <a:gd name="T48" fmla="*/ 175 w 253"/>
                  <a:gd name="T49" fmla="*/ 64 h 74"/>
                  <a:gd name="T50" fmla="*/ 185 w 253"/>
                  <a:gd name="T51" fmla="*/ 74 h 74"/>
                  <a:gd name="T52" fmla="*/ 195 w 253"/>
                  <a:gd name="T53" fmla="*/ 64 h 74"/>
                  <a:gd name="T54" fmla="*/ 205 w 253"/>
                  <a:gd name="T55" fmla="*/ 74 h 74"/>
                  <a:gd name="T56" fmla="*/ 214 w 253"/>
                  <a:gd name="T57" fmla="*/ 64 h 74"/>
                  <a:gd name="T58" fmla="*/ 224 w 253"/>
                  <a:gd name="T59" fmla="*/ 74 h 74"/>
                  <a:gd name="T60" fmla="*/ 234 w 253"/>
                  <a:gd name="T61" fmla="*/ 64 h 74"/>
                  <a:gd name="T62" fmla="*/ 244 w 253"/>
                  <a:gd name="T63" fmla="*/ 74 h 74"/>
                  <a:gd name="T64" fmla="*/ 253 w 253"/>
                  <a:gd name="T65" fmla="*/ 64 h 74"/>
                  <a:gd name="T66" fmla="*/ 253 w 253"/>
                  <a:gd name="T67"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3" h="74">
                    <a:moveTo>
                      <a:pt x="253" y="61"/>
                    </a:moveTo>
                    <a:cubicBezTo>
                      <a:pt x="238" y="0"/>
                      <a:pt x="238" y="0"/>
                      <a:pt x="238" y="0"/>
                    </a:cubicBezTo>
                    <a:cubicBezTo>
                      <a:pt x="154" y="0"/>
                      <a:pt x="154" y="0"/>
                      <a:pt x="154" y="0"/>
                    </a:cubicBezTo>
                    <a:cubicBezTo>
                      <a:pt x="102" y="0"/>
                      <a:pt x="102" y="0"/>
                      <a:pt x="102" y="0"/>
                    </a:cubicBezTo>
                    <a:cubicBezTo>
                      <a:pt x="15" y="0"/>
                      <a:pt x="15" y="0"/>
                      <a:pt x="15" y="0"/>
                    </a:cubicBezTo>
                    <a:cubicBezTo>
                      <a:pt x="1" y="61"/>
                      <a:pt x="1" y="61"/>
                      <a:pt x="1" y="61"/>
                    </a:cubicBezTo>
                    <a:cubicBezTo>
                      <a:pt x="0" y="62"/>
                      <a:pt x="0" y="63"/>
                      <a:pt x="0" y="64"/>
                    </a:cubicBezTo>
                    <a:cubicBezTo>
                      <a:pt x="0" y="69"/>
                      <a:pt x="5" y="74"/>
                      <a:pt x="10" y="74"/>
                    </a:cubicBezTo>
                    <a:cubicBezTo>
                      <a:pt x="15" y="74"/>
                      <a:pt x="20" y="69"/>
                      <a:pt x="20" y="64"/>
                    </a:cubicBezTo>
                    <a:cubicBezTo>
                      <a:pt x="20" y="69"/>
                      <a:pt x="24" y="74"/>
                      <a:pt x="29" y="74"/>
                    </a:cubicBezTo>
                    <a:cubicBezTo>
                      <a:pt x="35" y="74"/>
                      <a:pt x="39" y="69"/>
                      <a:pt x="39" y="64"/>
                    </a:cubicBezTo>
                    <a:cubicBezTo>
                      <a:pt x="39" y="69"/>
                      <a:pt x="43" y="74"/>
                      <a:pt x="49" y="74"/>
                    </a:cubicBezTo>
                    <a:cubicBezTo>
                      <a:pt x="54" y="74"/>
                      <a:pt x="59" y="69"/>
                      <a:pt x="59" y="64"/>
                    </a:cubicBezTo>
                    <a:cubicBezTo>
                      <a:pt x="59" y="69"/>
                      <a:pt x="63" y="74"/>
                      <a:pt x="68" y="74"/>
                    </a:cubicBezTo>
                    <a:cubicBezTo>
                      <a:pt x="74" y="74"/>
                      <a:pt x="78" y="69"/>
                      <a:pt x="78" y="64"/>
                    </a:cubicBezTo>
                    <a:cubicBezTo>
                      <a:pt x="78" y="69"/>
                      <a:pt x="82" y="74"/>
                      <a:pt x="88" y="74"/>
                    </a:cubicBezTo>
                    <a:cubicBezTo>
                      <a:pt x="93" y="74"/>
                      <a:pt x="98" y="69"/>
                      <a:pt x="98" y="64"/>
                    </a:cubicBezTo>
                    <a:cubicBezTo>
                      <a:pt x="98" y="69"/>
                      <a:pt x="102" y="74"/>
                      <a:pt x="107" y="74"/>
                    </a:cubicBezTo>
                    <a:cubicBezTo>
                      <a:pt x="113" y="74"/>
                      <a:pt x="117" y="69"/>
                      <a:pt x="117" y="64"/>
                    </a:cubicBezTo>
                    <a:cubicBezTo>
                      <a:pt x="117" y="69"/>
                      <a:pt x="121" y="74"/>
                      <a:pt x="127" y="74"/>
                    </a:cubicBezTo>
                    <a:cubicBezTo>
                      <a:pt x="132" y="74"/>
                      <a:pt x="136" y="69"/>
                      <a:pt x="136" y="64"/>
                    </a:cubicBezTo>
                    <a:cubicBezTo>
                      <a:pt x="136" y="69"/>
                      <a:pt x="141" y="74"/>
                      <a:pt x="146" y="74"/>
                    </a:cubicBezTo>
                    <a:cubicBezTo>
                      <a:pt x="152" y="74"/>
                      <a:pt x="156" y="69"/>
                      <a:pt x="156" y="64"/>
                    </a:cubicBezTo>
                    <a:cubicBezTo>
                      <a:pt x="156" y="69"/>
                      <a:pt x="160" y="74"/>
                      <a:pt x="166" y="74"/>
                    </a:cubicBezTo>
                    <a:cubicBezTo>
                      <a:pt x="171" y="74"/>
                      <a:pt x="175" y="69"/>
                      <a:pt x="175" y="64"/>
                    </a:cubicBezTo>
                    <a:cubicBezTo>
                      <a:pt x="175" y="69"/>
                      <a:pt x="180" y="74"/>
                      <a:pt x="185" y="74"/>
                    </a:cubicBezTo>
                    <a:cubicBezTo>
                      <a:pt x="191" y="74"/>
                      <a:pt x="195" y="69"/>
                      <a:pt x="195" y="64"/>
                    </a:cubicBezTo>
                    <a:cubicBezTo>
                      <a:pt x="195" y="69"/>
                      <a:pt x="199" y="74"/>
                      <a:pt x="205" y="74"/>
                    </a:cubicBezTo>
                    <a:cubicBezTo>
                      <a:pt x="210" y="74"/>
                      <a:pt x="214" y="69"/>
                      <a:pt x="214" y="64"/>
                    </a:cubicBezTo>
                    <a:cubicBezTo>
                      <a:pt x="214" y="69"/>
                      <a:pt x="219" y="74"/>
                      <a:pt x="224" y="74"/>
                    </a:cubicBezTo>
                    <a:cubicBezTo>
                      <a:pt x="229" y="74"/>
                      <a:pt x="234" y="69"/>
                      <a:pt x="234" y="64"/>
                    </a:cubicBezTo>
                    <a:cubicBezTo>
                      <a:pt x="234" y="69"/>
                      <a:pt x="238" y="74"/>
                      <a:pt x="244" y="74"/>
                    </a:cubicBezTo>
                    <a:cubicBezTo>
                      <a:pt x="249" y="74"/>
                      <a:pt x="253" y="69"/>
                      <a:pt x="253" y="64"/>
                    </a:cubicBezTo>
                    <a:cubicBezTo>
                      <a:pt x="253" y="63"/>
                      <a:pt x="253" y="62"/>
                      <a:pt x="253" y="61"/>
                    </a:cubicBezTo>
                    <a:close/>
                  </a:path>
                </a:pathLst>
              </a:cu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98" name="Rectangle 117">
                <a:extLst>
                  <a:ext uri="{FF2B5EF4-FFF2-40B4-BE49-F238E27FC236}">
                    <a16:creationId xmlns:a16="http://schemas.microsoft.com/office/drawing/2014/main" id="{F5A07E00-4062-9E43-BD89-B52C1A68FA88}"/>
                  </a:ext>
                </a:extLst>
              </p:cNvPr>
              <p:cNvSpPr>
                <a:spLocks noChangeArrowheads="1"/>
              </p:cNvSpPr>
              <p:nvPr/>
            </p:nvSpPr>
            <p:spPr bwMode="auto">
              <a:xfrm>
                <a:off x="2681288" y="3911600"/>
                <a:ext cx="65088" cy="14922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99" name="Rectangle 118">
                <a:extLst>
                  <a:ext uri="{FF2B5EF4-FFF2-40B4-BE49-F238E27FC236}">
                    <a16:creationId xmlns:a16="http://schemas.microsoft.com/office/drawing/2014/main" id="{3F7AFACB-0541-1443-8751-2A2FD29BB57A}"/>
                  </a:ext>
                </a:extLst>
              </p:cNvPr>
              <p:cNvSpPr>
                <a:spLocks noChangeArrowheads="1"/>
              </p:cNvSpPr>
              <p:nvPr/>
            </p:nvSpPr>
            <p:spPr bwMode="auto">
              <a:xfrm>
                <a:off x="2786063" y="3911600"/>
                <a:ext cx="65088" cy="14922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00" name="Rectangle 119">
                <a:extLst>
                  <a:ext uri="{FF2B5EF4-FFF2-40B4-BE49-F238E27FC236}">
                    <a16:creationId xmlns:a16="http://schemas.microsoft.com/office/drawing/2014/main" id="{DE3D2B11-28A8-194C-8D9F-29B23094C654}"/>
                  </a:ext>
                </a:extLst>
              </p:cNvPr>
              <p:cNvSpPr>
                <a:spLocks noChangeArrowheads="1"/>
              </p:cNvSpPr>
              <p:nvPr/>
            </p:nvSpPr>
            <p:spPr bwMode="auto">
              <a:xfrm>
                <a:off x="2890838" y="3911600"/>
                <a:ext cx="66675" cy="14922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401" name="Rectangle 120">
                <a:extLst>
                  <a:ext uri="{FF2B5EF4-FFF2-40B4-BE49-F238E27FC236}">
                    <a16:creationId xmlns:a16="http://schemas.microsoft.com/office/drawing/2014/main" id="{ACADB32E-70BE-0C45-AAA4-8302A7A129F7}"/>
                  </a:ext>
                </a:extLst>
              </p:cNvPr>
              <p:cNvSpPr>
                <a:spLocks noChangeArrowheads="1"/>
              </p:cNvSpPr>
              <p:nvPr/>
            </p:nvSpPr>
            <p:spPr bwMode="auto">
              <a:xfrm>
                <a:off x="2997200" y="3911600"/>
                <a:ext cx="65088" cy="14922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34" name="Group 133">
              <a:extLst>
                <a:ext uri="{FF2B5EF4-FFF2-40B4-BE49-F238E27FC236}">
                  <a16:creationId xmlns:a16="http://schemas.microsoft.com/office/drawing/2014/main" id="{BC7D8600-5078-1F47-8F32-8549D4467E50}"/>
                </a:ext>
              </a:extLst>
            </p:cNvPr>
            <p:cNvGrpSpPr/>
            <p:nvPr/>
          </p:nvGrpSpPr>
          <p:grpSpPr>
            <a:xfrm>
              <a:off x="6516493" y="3160934"/>
              <a:ext cx="381584" cy="1588961"/>
              <a:chOff x="2732088" y="1325563"/>
              <a:chExt cx="415925" cy="1731963"/>
            </a:xfrm>
          </p:grpSpPr>
          <p:sp>
            <p:nvSpPr>
              <p:cNvPr id="386" name="Freeform 27">
                <a:extLst>
                  <a:ext uri="{FF2B5EF4-FFF2-40B4-BE49-F238E27FC236}">
                    <a16:creationId xmlns:a16="http://schemas.microsoft.com/office/drawing/2014/main" id="{26CE4392-BD05-424E-A899-06B3E9773263}"/>
                  </a:ext>
                </a:extLst>
              </p:cNvPr>
              <p:cNvSpPr>
                <a:spLocks/>
              </p:cNvSpPr>
              <p:nvPr/>
            </p:nvSpPr>
            <p:spPr bwMode="auto">
              <a:xfrm>
                <a:off x="2732088" y="1325563"/>
                <a:ext cx="415925" cy="1731963"/>
              </a:xfrm>
              <a:custGeom>
                <a:avLst/>
                <a:gdLst>
                  <a:gd name="T0" fmla="*/ 262 w 262"/>
                  <a:gd name="T1" fmla="*/ 0 h 1091"/>
                  <a:gd name="T2" fmla="*/ 0 w 262"/>
                  <a:gd name="T3" fmla="*/ 221 h 1091"/>
                  <a:gd name="T4" fmla="*/ 0 w 262"/>
                  <a:gd name="T5" fmla="*/ 1091 h 1091"/>
                  <a:gd name="T6" fmla="*/ 262 w 262"/>
                  <a:gd name="T7" fmla="*/ 1091 h 1091"/>
                  <a:gd name="T8" fmla="*/ 262 w 262"/>
                  <a:gd name="T9" fmla="*/ 0 h 1091"/>
                </a:gdLst>
                <a:ahLst/>
                <a:cxnLst>
                  <a:cxn ang="0">
                    <a:pos x="T0" y="T1"/>
                  </a:cxn>
                  <a:cxn ang="0">
                    <a:pos x="T2" y="T3"/>
                  </a:cxn>
                  <a:cxn ang="0">
                    <a:pos x="T4" y="T5"/>
                  </a:cxn>
                  <a:cxn ang="0">
                    <a:pos x="T6" y="T7"/>
                  </a:cxn>
                  <a:cxn ang="0">
                    <a:pos x="T8" y="T9"/>
                  </a:cxn>
                </a:cxnLst>
                <a:rect l="0" t="0" r="r" b="b"/>
                <a:pathLst>
                  <a:path w="262" h="1091">
                    <a:moveTo>
                      <a:pt x="262" y="0"/>
                    </a:moveTo>
                    <a:lnTo>
                      <a:pt x="0" y="221"/>
                    </a:lnTo>
                    <a:lnTo>
                      <a:pt x="0" y="1091"/>
                    </a:lnTo>
                    <a:lnTo>
                      <a:pt x="262" y="1091"/>
                    </a:lnTo>
                    <a:lnTo>
                      <a:pt x="262"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87" name="Oval 28">
                <a:extLst>
                  <a:ext uri="{FF2B5EF4-FFF2-40B4-BE49-F238E27FC236}">
                    <a16:creationId xmlns:a16="http://schemas.microsoft.com/office/drawing/2014/main" id="{F38CB527-B610-EE46-B849-EC6C7F9B099F}"/>
                  </a:ext>
                </a:extLst>
              </p:cNvPr>
              <p:cNvSpPr>
                <a:spLocks noChangeArrowheads="1"/>
              </p:cNvSpPr>
              <p:nvPr/>
            </p:nvSpPr>
            <p:spPr bwMode="auto">
              <a:xfrm>
                <a:off x="2778125" y="1743075"/>
                <a:ext cx="136525" cy="138113"/>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88" name="Oval 29">
                <a:extLst>
                  <a:ext uri="{FF2B5EF4-FFF2-40B4-BE49-F238E27FC236}">
                    <a16:creationId xmlns:a16="http://schemas.microsoft.com/office/drawing/2014/main" id="{D7E9529E-6661-1A4A-947C-69D5927C63FD}"/>
                  </a:ext>
                </a:extLst>
              </p:cNvPr>
              <p:cNvSpPr>
                <a:spLocks noChangeArrowheads="1"/>
              </p:cNvSpPr>
              <p:nvPr/>
            </p:nvSpPr>
            <p:spPr bwMode="auto">
              <a:xfrm>
                <a:off x="2965450" y="1743075"/>
                <a:ext cx="138113" cy="138113"/>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89" name="Oval 30">
                <a:extLst>
                  <a:ext uri="{FF2B5EF4-FFF2-40B4-BE49-F238E27FC236}">
                    <a16:creationId xmlns:a16="http://schemas.microsoft.com/office/drawing/2014/main" id="{2CD1D65A-8C05-3047-AB2C-D920BFC9EFD1}"/>
                  </a:ext>
                </a:extLst>
              </p:cNvPr>
              <p:cNvSpPr>
                <a:spLocks noChangeArrowheads="1"/>
              </p:cNvSpPr>
              <p:nvPr/>
            </p:nvSpPr>
            <p:spPr bwMode="auto">
              <a:xfrm>
                <a:off x="2778125" y="1935163"/>
                <a:ext cx="136525" cy="136525"/>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90" name="Oval 31">
                <a:extLst>
                  <a:ext uri="{FF2B5EF4-FFF2-40B4-BE49-F238E27FC236}">
                    <a16:creationId xmlns:a16="http://schemas.microsoft.com/office/drawing/2014/main" id="{B3F9DCE7-39F7-094D-AC6F-35F7C5D0CFE5}"/>
                  </a:ext>
                </a:extLst>
              </p:cNvPr>
              <p:cNvSpPr>
                <a:spLocks noChangeArrowheads="1"/>
              </p:cNvSpPr>
              <p:nvPr/>
            </p:nvSpPr>
            <p:spPr bwMode="auto">
              <a:xfrm>
                <a:off x="2965450" y="1935163"/>
                <a:ext cx="138113" cy="136525"/>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91" name="Oval 32">
                <a:extLst>
                  <a:ext uri="{FF2B5EF4-FFF2-40B4-BE49-F238E27FC236}">
                    <a16:creationId xmlns:a16="http://schemas.microsoft.com/office/drawing/2014/main" id="{A3DD9F41-9ED0-894E-84D7-59A8A261AC46}"/>
                  </a:ext>
                </a:extLst>
              </p:cNvPr>
              <p:cNvSpPr>
                <a:spLocks noChangeArrowheads="1"/>
              </p:cNvSpPr>
              <p:nvPr/>
            </p:nvSpPr>
            <p:spPr bwMode="auto">
              <a:xfrm>
                <a:off x="2778125" y="2127250"/>
                <a:ext cx="136525" cy="136525"/>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92" name="Oval 33">
                <a:extLst>
                  <a:ext uri="{FF2B5EF4-FFF2-40B4-BE49-F238E27FC236}">
                    <a16:creationId xmlns:a16="http://schemas.microsoft.com/office/drawing/2014/main" id="{B4FA2ECA-D890-A542-B64B-9EF4A70A413B}"/>
                  </a:ext>
                </a:extLst>
              </p:cNvPr>
              <p:cNvSpPr>
                <a:spLocks noChangeArrowheads="1"/>
              </p:cNvSpPr>
              <p:nvPr/>
            </p:nvSpPr>
            <p:spPr bwMode="auto">
              <a:xfrm>
                <a:off x="2965450" y="2127250"/>
                <a:ext cx="138113" cy="136525"/>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93" name="Oval 34">
                <a:extLst>
                  <a:ext uri="{FF2B5EF4-FFF2-40B4-BE49-F238E27FC236}">
                    <a16:creationId xmlns:a16="http://schemas.microsoft.com/office/drawing/2014/main" id="{58528FA2-BCCF-834D-9E28-4A41A50C17F1}"/>
                  </a:ext>
                </a:extLst>
              </p:cNvPr>
              <p:cNvSpPr>
                <a:spLocks noChangeArrowheads="1"/>
              </p:cNvSpPr>
              <p:nvPr/>
            </p:nvSpPr>
            <p:spPr bwMode="auto">
              <a:xfrm>
                <a:off x="2778125" y="2316163"/>
                <a:ext cx="136525" cy="138113"/>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94" name="Oval 35">
                <a:extLst>
                  <a:ext uri="{FF2B5EF4-FFF2-40B4-BE49-F238E27FC236}">
                    <a16:creationId xmlns:a16="http://schemas.microsoft.com/office/drawing/2014/main" id="{A9930712-E193-6840-86C9-5989C1CDF48B}"/>
                  </a:ext>
                </a:extLst>
              </p:cNvPr>
              <p:cNvSpPr>
                <a:spLocks noChangeArrowheads="1"/>
              </p:cNvSpPr>
              <p:nvPr/>
            </p:nvSpPr>
            <p:spPr bwMode="auto">
              <a:xfrm>
                <a:off x="2965450" y="2316163"/>
                <a:ext cx="138113" cy="138113"/>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35" name="Group 134">
              <a:extLst>
                <a:ext uri="{FF2B5EF4-FFF2-40B4-BE49-F238E27FC236}">
                  <a16:creationId xmlns:a16="http://schemas.microsoft.com/office/drawing/2014/main" id="{1D002F4E-0AC7-0A4E-8B66-6F273F753216}"/>
                </a:ext>
              </a:extLst>
            </p:cNvPr>
            <p:cNvGrpSpPr/>
            <p:nvPr/>
          </p:nvGrpSpPr>
          <p:grpSpPr>
            <a:xfrm>
              <a:off x="6111549" y="3901409"/>
              <a:ext cx="488501" cy="848486"/>
              <a:chOff x="9658350" y="1728788"/>
              <a:chExt cx="1062038" cy="1844675"/>
            </a:xfrm>
          </p:grpSpPr>
          <p:sp>
            <p:nvSpPr>
              <p:cNvPr id="383" name="Freeform 170">
                <a:extLst>
                  <a:ext uri="{FF2B5EF4-FFF2-40B4-BE49-F238E27FC236}">
                    <a16:creationId xmlns:a16="http://schemas.microsoft.com/office/drawing/2014/main" id="{B2CB294D-56CB-6842-B6EE-EB83224CA2FC}"/>
                  </a:ext>
                </a:extLst>
              </p:cNvPr>
              <p:cNvSpPr>
                <a:spLocks/>
              </p:cNvSpPr>
              <p:nvPr/>
            </p:nvSpPr>
            <p:spPr bwMode="auto">
              <a:xfrm>
                <a:off x="9658350" y="1728788"/>
                <a:ext cx="1062038" cy="1844675"/>
              </a:xfrm>
              <a:custGeom>
                <a:avLst/>
                <a:gdLst>
                  <a:gd name="T0" fmla="*/ 669 w 669"/>
                  <a:gd name="T1" fmla="*/ 1162 h 1162"/>
                  <a:gd name="T2" fmla="*/ 0 w 669"/>
                  <a:gd name="T3" fmla="*/ 1162 h 1162"/>
                  <a:gd name="T4" fmla="*/ 0 w 669"/>
                  <a:gd name="T5" fmla="*/ 180 h 1162"/>
                  <a:gd name="T6" fmla="*/ 138 w 669"/>
                  <a:gd name="T7" fmla="*/ 0 h 1162"/>
                  <a:gd name="T8" fmla="*/ 527 w 669"/>
                  <a:gd name="T9" fmla="*/ 0 h 1162"/>
                  <a:gd name="T10" fmla="*/ 669 w 669"/>
                  <a:gd name="T11" fmla="*/ 180 h 1162"/>
                  <a:gd name="T12" fmla="*/ 669 w 669"/>
                  <a:gd name="T13" fmla="*/ 1162 h 1162"/>
                </a:gdLst>
                <a:ahLst/>
                <a:cxnLst>
                  <a:cxn ang="0">
                    <a:pos x="T0" y="T1"/>
                  </a:cxn>
                  <a:cxn ang="0">
                    <a:pos x="T2" y="T3"/>
                  </a:cxn>
                  <a:cxn ang="0">
                    <a:pos x="T4" y="T5"/>
                  </a:cxn>
                  <a:cxn ang="0">
                    <a:pos x="T6" y="T7"/>
                  </a:cxn>
                  <a:cxn ang="0">
                    <a:pos x="T8" y="T9"/>
                  </a:cxn>
                  <a:cxn ang="0">
                    <a:pos x="T10" y="T11"/>
                  </a:cxn>
                  <a:cxn ang="0">
                    <a:pos x="T12" y="T13"/>
                  </a:cxn>
                </a:cxnLst>
                <a:rect l="0" t="0" r="r" b="b"/>
                <a:pathLst>
                  <a:path w="669" h="1162">
                    <a:moveTo>
                      <a:pt x="669" y="1162"/>
                    </a:moveTo>
                    <a:lnTo>
                      <a:pt x="0" y="1162"/>
                    </a:lnTo>
                    <a:lnTo>
                      <a:pt x="0" y="180"/>
                    </a:lnTo>
                    <a:lnTo>
                      <a:pt x="138" y="0"/>
                    </a:lnTo>
                    <a:lnTo>
                      <a:pt x="527" y="0"/>
                    </a:lnTo>
                    <a:lnTo>
                      <a:pt x="669" y="180"/>
                    </a:lnTo>
                    <a:lnTo>
                      <a:pt x="669" y="1162"/>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84" name="Rectangle 171">
                <a:extLst>
                  <a:ext uri="{FF2B5EF4-FFF2-40B4-BE49-F238E27FC236}">
                    <a16:creationId xmlns:a16="http://schemas.microsoft.com/office/drawing/2014/main" id="{2158360F-F7E3-D340-AD5E-27F61B1FA2BC}"/>
                  </a:ext>
                </a:extLst>
              </p:cNvPr>
              <p:cNvSpPr>
                <a:spLocks noChangeArrowheads="1"/>
              </p:cNvSpPr>
              <p:nvPr/>
            </p:nvSpPr>
            <p:spPr bwMode="auto">
              <a:xfrm>
                <a:off x="9902825" y="2101850"/>
                <a:ext cx="573088" cy="263525"/>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85" name="Rectangle 172">
                <a:extLst>
                  <a:ext uri="{FF2B5EF4-FFF2-40B4-BE49-F238E27FC236}">
                    <a16:creationId xmlns:a16="http://schemas.microsoft.com/office/drawing/2014/main" id="{ED1CEB39-74BB-924C-B9E2-7B6E69C8F56E}"/>
                  </a:ext>
                </a:extLst>
              </p:cNvPr>
              <p:cNvSpPr>
                <a:spLocks noChangeArrowheads="1"/>
              </p:cNvSpPr>
              <p:nvPr/>
            </p:nvSpPr>
            <p:spPr bwMode="auto">
              <a:xfrm>
                <a:off x="9902825" y="2505075"/>
                <a:ext cx="573088" cy="265112"/>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36" name="Group 135">
              <a:extLst>
                <a:ext uri="{FF2B5EF4-FFF2-40B4-BE49-F238E27FC236}">
                  <a16:creationId xmlns:a16="http://schemas.microsoft.com/office/drawing/2014/main" id="{3CF0ACA9-0BD2-4F4D-9349-6AA368ABA195}"/>
                </a:ext>
              </a:extLst>
            </p:cNvPr>
            <p:cNvGrpSpPr/>
            <p:nvPr/>
          </p:nvGrpSpPr>
          <p:grpSpPr>
            <a:xfrm>
              <a:off x="5133454" y="3110116"/>
              <a:ext cx="356387" cy="1639780"/>
              <a:chOff x="9525048" y="1159755"/>
              <a:chExt cx="475182" cy="2186373"/>
            </a:xfrm>
          </p:grpSpPr>
          <p:sp>
            <p:nvSpPr>
              <p:cNvPr id="366" name="Rectangle 36">
                <a:extLst>
                  <a:ext uri="{FF2B5EF4-FFF2-40B4-BE49-F238E27FC236}">
                    <a16:creationId xmlns:a16="http://schemas.microsoft.com/office/drawing/2014/main" id="{81989618-8DC8-8241-9059-174D74CC939A}"/>
                  </a:ext>
                </a:extLst>
              </p:cNvPr>
              <p:cNvSpPr>
                <a:spLocks noChangeArrowheads="1"/>
              </p:cNvSpPr>
              <p:nvPr/>
            </p:nvSpPr>
            <p:spPr bwMode="auto">
              <a:xfrm>
                <a:off x="9525048" y="1159755"/>
                <a:ext cx="475182" cy="2186373"/>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nvGrpSpPr>
              <p:cNvPr id="367" name="Group 366">
                <a:extLst>
                  <a:ext uri="{FF2B5EF4-FFF2-40B4-BE49-F238E27FC236}">
                    <a16:creationId xmlns:a16="http://schemas.microsoft.com/office/drawing/2014/main" id="{964A2214-80BB-0048-A0B2-24A6BFF8920E}"/>
                  </a:ext>
                </a:extLst>
              </p:cNvPr>
              <p:cNvGrpSpPr/>
              <p:nvPr/>
            </p:nvGrpSpPr>
            <p:grpSpPr>
              <a:xfrm>
                <a:off x="9573100" y="1221154"/>
                <a:ext cx="380413" cy="1824648"/>
                <a:chOff x="1522413" y="350838"/>
                <a:chExt cx="452438" cy="1420812"/>
              </a:xfrm>
              <a:solidFill>
                <a:schemeClr val="accent4">
                  <a:lumMod val="60000"/>
                  <a:lumOff val="40000"/>
                </a:schemeClr>
              </a:solidFill>
            </p:grpSpPr>
            <p:sp>
              <p:nvSpPr>
                <p:cNvPr id="368" name="Rectangle 37">
                  <a:extLst>
                    <a:ext uri="{FF2B5EF4-FFF2-40B4-BE49-F238E27FC236}">
                      <a16:creationId xmlns:a16="http://schemas.microsoft.com/office/drawing/2014/main" id="{73BF6FEA-EA83-9149-BA40-E953676D0359}"/>
                    </a:ext>
                  </a:extLst>
                </p:cNvPr>
                <p:cNvSpPr>
                  <a:spLocks noChangeArrowheads="1"/>
                </p:cNvSpPr>
                <p:nvPr/>
              </p:nvSpPr>
              <p:spPr bwMode="auto">
                <a:xfrm>
                  <a:off x="1522413" y="350838"/>
                  <a:ext cx="45243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69" name="Rectangle 38">
                  <a:extLst>
                    <a:ext uri="{FF2B5EF4-FFF2-40B4-BE49-F238E27FC236}">
                      <a16:creationId xmlns:a16="http://schemas.microsoft.com/office/drawing/2014/main" id="{E96C158E-39E9-0A44-8B9C-5896706A8AF2}"/>
                    </a:ext>
                  </a:extLst>
                </p:cNvPr>
                <p:cNvSpPr>
                  <a:spLocks noChangeArrowheads="1"/>
                </p:cNvSpPr>
                <p:nvPr/>
              </p:nvSpPr>
              <p:spPr bwMode="auto">
                <a:xfrm>
                  <a:off x="1522413" y="449263"/>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0" name="Rectangle 39">
                  <a:extLst>
                    <a:ext uri="{FF2B5EF4-FFF2-40B4-BE49-F238E27FC236}">
                      <a16:creationId xmlns:a16="http://schemas.microsoft.com/office/drawing/2014/main" id="{3BD7CD52-E65F-1D46-8167-144A32F687EF}"/>
                    </a:ext>
                  </a:extLst>
                </p:cNvPr>
                <p:cNvSpPr>
                  <a:spLocks noChangeArrowheads="1"/>
                </p:cNvSpPr>
                <p:nvPr/>
              </p:nvSpPr>
              <p:spPr bwMode="auto">
                <a:xfrm>
                  <a:off x="1522413" y="549275"/>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1" name="Rectangle 40">
                  <a:extLst>
                    <a:ext uri="{FF2B5EF4-FFF2-40B4-BE49-F238E27FC236}">
                      <a16:creationId xmlns:a16="http://schemas.microsoft.com/office/drawing/2014/main" id="{07E916C8-B308-1A4B-894B-0CDD8605A5CC}"/>
                    </a:ext>
                  </a:extLst>
                </p:cNvPr>
                <p:cNvSpPr>
                  <a:spLocks noChangeArrowheads="1"/>
                </p:cNvSpPr>
                <p:nvPr/>
              </p:nvSpPr>
              <p:spPr bwMode="auto">
                <a:xfrm>
                  <a:off x="1522413" y="649288"/>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2" name="Rectangle 41">
                  <a:extLst>
                    <a:ext uri="{FF2B5EF4-FFF2-40B4-BE49-F238E27FC236}">
                      <a16:creationId xmlns:a16="http://schemas.microsoft.com/office/drawing/2014/main" id="{24D52A96-A3A4-304E-A427-5F6911644EEE}"/>
                    </a:ext>
                  </a:extLst>
                </p:cNvPr>
                <p:cNvSpPr>
                  <a:spLocks noChangeArrowheads="1"/>
                </p:cNvSpPr>
                <p:nvPr/>
              </p:nvSpPr>
              <p:spPr bwMode="auto">
                <a:xfrm>
                  <a:off x="1522413" y="747713"/>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3" name="Rectangle 42">
                  <a:extLst>
                    <a:ext uri="{FF2B5EF4-FFF2-40B4-BE49-F238E27FC236}">
                      <a16:creationId xmlns:a16="http://schemas.microsoft.com/office/drawing/2014/main" id="{165B7553-9A39-7A45-8C60-54327841240A}"/>
                    </a:ext>
                  </a:extLst>
                </p:cNvPr>
                <p:cNvSpPr>
                  <a:spLocks noChangeArrowheads="1"/>
                </p:cNvSpPr>
                <p:nvPr/>
              </p:nvSpPr>
              <p:spPr bwMode="auto">
                <a:xfrm>
                  <a:off x="1522413" y="846138"/>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4" name="Rectangle 43">
                  <a:extLst>
                    <a:ext uri="{FF2B5EF4-FFF2-40B4-BE49-F238E27FC236}">
                      <a16:creationId xmlns:a16="http://schemas.microsoft.com/office/drawing/2014/main" id="{0A063A48-F100-5F44-B125-2B525A767C13}"/>
                    </a:ext>
                  </a:extLst>
                </p:cNvPr>
                <p:cNvSpPr>
                  <a:spLocks noChangeArrowheads="1"/>
                </p:cNvSpPr>
                <p:nvPr/>
              </p:nvSpPr>
              <p:spPr bwMode="auto">
                <a:xfrm>
                  <a:off x="1522413" y="947738"/>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5" name="Rectangle 44">
                  <a:extLst>
                    <a:ext uri="{FF2B5EF4-FFF2-40B4-BE49-F238E27FC236}">
                      <a16:creationId xmlns:a16="http://schemas.microsoft.com/office/drawing/2014/main" id="{D07FAF2F-48AB-6842-A25B-5F85A914B760}"/>
                    </a:ext>
                  </a:extLst>
                </p:cNvPr>
                <p:cNvSpPr>
                  <a:spLocks noChangeArrowheads="1"/>
                </p:cNvSpPr>
                <p:nvPr/>
              </p:nvSpPr>
              <p:spPr bwMode="auto">
                <a:xfrm>
                  <a:off x="1522413" y="1046163"/>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6" name="Rectangle 45">
                  <a:extLst>
                    <a:ext uri="{FF2B5EF4-FFF2-40B4-BE49-F238E27FC236}">
                      <a16:creationId xmlns:a16="http://schemas.microsoft.com/office/drawing/2014/main" id="{68044005-A399-3E45-8313-38A87978ADBB}"/>
                    </a:ext>
                  </a:extLst>
                </p:cNvPr>
                <p:cNvSpPr>
                  <a:spLocks noChangeArrowheads="1"/>
                </p:cNvSpPr>
                <p:nvPr/>
              </p:nvSpPr>
              <p:spPr bwMode="auto">
                <a:xfrm>
                  <a:off x="1522413" y="1146175"/>
                  <a:ext cx="45243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7" name="Rectangle 46">
                  <a:extLst>
                    <a:ext uri="{FF2B5EF4-FFF2-40B4-BE49-F238E27FC236}">
                      <a16:creationId xmlns:a16="http://schemas.microsoft.com/office/drawing/2014/main" id="{9CE80349-D345-6047-A2C0-5565956DAB12}"/>
                    </a:ext>
                  </a:extLst>
                </p:cNvPr>
                <p:cNvSpPr>
                  <a:spLocks noChangeArrowheads="1"/>
                </p:cNvSpPr>
                <p:nvPr/>
              </p:nvSpPr>
              <p:spPr bwMode="auto">
                <a:xfrm>
                  <a:off x="1522413" y="1244600"/>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8" name="Rectangle 47">
                  <a:extLst>
                    <a:ext uri="{FF2B5EF4-FFF2-40B4-BE49-F238E27FC236}">
                      <a16:creationId xmlns:a16="http://schemas.microsoft.com/office/drawing/2014/main" id="{EF01249D-108B-CF4E-8B16-1311250C62CC}"/>
                    </a:ext>
                  </a:extLst>
                </p:cNvPr>
                <p:cNvSpPr>
                  <a:spLocks noChangeArrowheads="1"/>
                </p:cNvSpPr>
                <p:nvPr/>
              </p:nvSpPr>
              <p:spPr bwMode="auto">
                <a:xfrm>
                  <a:off x="1522413" y="1346200"/>
                  <a:ext cx="45243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79" name="Rectangle 48">
                  <a:extLst>
                    <a:ext uri="{FF2B5EF4-FFF2-40B4-BE49-F238E27FC236}">
                      <a16:creationId xmlns:a16="http://schemas.microsoft.com/office/drawing/2014/main" id="{D7591874-6698-2849-9474-2031FF73610B}"/>
                    </a:ext>
                  </a:extLst>
                </p:cNvPr>
                <p:cNvSpPr>
                  <a:spLocks noChangeArrowheads="1"/>
                </p:cNvSpPr>
                <p:nvPr/>
              </p:nvSpPr>
              <p:spPr bwMode="auto">
                <a:xfrm>
                  <a:off x="1522413" y="1444625"/>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80" name="Rectangle 49">
                  <a:extLst>
                    <a:ext uri="{FF2B5EF4-FFF2-40B4-BE49-F238E27FC236}">
                      <a16:creationId xmlns:a16="http://schemas.microsoft.com/office/drawing/2014/main" id="{0E430E1C-2668-2D47-A35A-0B236EE57199}"/>
                    </a:ext>
                  </a:extLst>
                </p:cNvPr>
                <p:cNvSpPr>
                  <a:spLocks noChangeArrowheads="1"/>
                </p:cNvSpPr>
                <p:nvPr/>
              </p:nvSpPr>
              <p:spPr bwMode="auto">
                <a:xfrm>
                  <a:off x="1522413" y="1543050"/>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81" name="Rectangle 50">
                  <a:extLst>
                    <a:ext uri="{FF2B5EF4-FFF2-40B4-BE49-F238E27FC236}">
                      <a16:creationId xmlns:a16="http://schemas.microsoft.com/office/drawing/2014/main" id="{D83F421A-E8B6-0B4E-989B-259DBA8CF2AB}"/>
                    </a:ext>
                  </a:extLst>
                </p:cNvPr>
                <p:cNvSpPr>
                  <a:spLocks noChangeArrowheads="1"/>
                </p:cNvSpPr>
                <p:nvPr/>
              </p:nvSpPr>
              <p:spPr bwMode="auto">
                <a:xfrm>
                  <a:off x="1522413" y="1644650"/>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82" name="Rectangle 51">
                  <a:extLst>
                    <a:ext uri="{FF2B5EF4-FFF2-40B4-BE49-F238E27FC236}">
                      <a16:creationId xmlns:a16="http://schemas.microsoft.com/office/drawing/2014/main" id="{3650B487-40E5-0143-9920-BC3C62ED69D5}"/>
                    </a:ext>
                  </a:extLst>
                </p:cNvPr>
                <p:cNvSpPr>
                  <a:spLocks noChangeArrowheads="1"/>
                </p:cNvSpPr>
                <p:nvPr/>
              </p:nvSpPr>
              <p:spPr bwMode="auto">
                <a:xfrm>
                  <a:off x="1522413" y="1743075"/>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grpSp>
          <p:nvGrpSpPr>
            <p:cNvPr id="137" name="Group 136">
              <a:extLst>
                <a:ext uri="{FF2B5EF4-FFF2-40B4-BE49-F238E27FC236}">
                  <a16:creationId xmlns:a16="http://schemas.microsoft.com/office/drawing/2014/main" id="{6153F1E8-F537-2844-ABF0-DD5C0ADEC3CD}"/>
                </a:ext>
              </a:extLst>
            </p:cNvPr>
            <p:cNvGrpSpPr/>
            <p:nvPr/>
          </p:nvGrpSpPr>
          <p:grpSpPr>
            <a:xfrm>
              <a:off x="1293095" y="3450923"/>
              <a:ext cx="311944" cy="1298972"/>
              <a:chOff x="2732088" y="1325563"/>
              <a:chExt cx="415925" cy="1731963"/>
            </a:xfrm>
          </p:grpSpPr>
          <p:sp>
            <p:nvSpPr>
              <p:cNvPr id="357" name="Freeform 27">
                <a:extLst>
                  <a:ext uri="{FF2B5EF4-FFF2-40B4-BE49-F238E27FC236}">
                    <a16:creationId xmlns:a16="http://schemas.microsoft.com/office/drawing/2014/main" id="{091023AF-297F-8647-8465-5D20AC887833}"/>
                  </a:ext>
                </a:extLst>
              </p:cNvPr>
              <p:cNvSpPr>
                <a:spLocks/>
              </p:cNvSpPr>
              <p:nvPr/>
            </p:nvSpPr>
            <p:spPr bwMode="auto">
              <a:xfrm>
                <a:off x="2732088" y="1325563"/>
                <a:ext cx="415925" cy="1731963"/>
              </a:xfrm>
              <a:custGeom>
                <a:avLst/>
                <a:gdLst>
                  <a:gd name="T0" fmla="*/ 262 w 262"/>
                  <a:gd name="T1" fmla="*/ 0 h 1091"/>
                  <a:gd name="T2" fmla="*/ 0 w 262"/>
                  <a:gd name="T3" fmla="*/ 221 h 1091"/>
                  <a:gd name="T4" fmla="*/ 0 w 262"/>
                  <a:gd name="T5" fmla="*/ 1091 h 1091"/>
                  <a:gd name="T6" fmla="*/ 262 w 262"/>
                  <a:gd name="T7" fmla="*/ 1091 h 1091"/>
                  <a:gd name="T8" fmla="*/ 262 w 262"/>
                  <a:gd name="T9" fmla="*/ 0 h 1091"/>
                </a:gdLst>
                <a:ahLst/>
                <a:cxnLst>
                  <a:cxn ang="0">
                    <a:pos x="T0" y="T1"/>
                  </a:cxn>
                  <a:cxn ang="0">
                    <a:pos x="T2" y="T3"/>
                  </a:cxn>
                  <a:cxn ang="0">
                    <a:pos x="T4" y="T5"/>
                  </a:cxn>
                  <a:cxn ang="0">
                    <a:pos x="T6" y="T7"/>
                  </a:cxn>
                  <a:cxn ang="0">
                    <a:pos x="T8" y="T9"/>
                  </a:cxn>
                </a:cxnLst>
                <a:rect l="0" t="0" r="r" b="b"/>
                <a:pathLst>
                  <a:path w="262" h="1091">
                    <a:moveTo>
                      <a:pt x="262" y="0"/>
                    </a:moveTo>
                    <a:lnTo>
                      <a:pt x="0" y="221"/>
                    </a:lnTo>
                    <a:lnTo>
                      <a:pt x="0" y="1091"/>
                    </a:lnTo>
                    <a:lnTo>
                      <a:pt x="262" y="1091"/>
                    </a:lnTo>
                    <a:lnTo>
                      <a:pt x="262"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58" name="Oval 28">
                <a:extLst>
                  <a:ext uri="{FF2B5EF4-FFF2-40B4-BE49-F238E27FC236}">
                    <a16:creationId xmlns:a16="http://schemas.microsoft.com/office/drawing/2014/main" id="{A1E27F8C-F0E2-EF4F-A8DA-6A7FAC9E0E0D}"/>
                  </a:ext>
                </a:extLst>
              </p:cNvPr>
              <p:cNvSpPr>
                <a:spLocks noChangeArrowheads="1"/>
              </p:cNvSpPr>
              <p:nvPr/>
            </p:nvSpPr>
            <p:spPr bwMode="auto">
              <a:xfrm>
                <a:off x="2778125" y="1743075"/>
                <a:ext cx="136525" cy="138113"/>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59" name="Oval 29">
                <a:extLst>
                  <a:ext uri="{FF2B5EF4-FFF2-40B4-BE49-F238E27FC236}">
                    <a16:creationId xmlns:a16="http://schemas.microsoft.com/office/drawing/2014/main" id="{8AB5C8CF-2570-6545-ADAA-E8F684CFB475}"/>
                  </a:ext>
                </a:extLst>
              </p:cNvPr>
              <p:cNvSpPr>
                <a:spLocks noChangeArrowheads="1"/>
              </p:cNvSpPr>
              <p:nvPr/>
            </p:nvSpPr>
            <p:spPr bwMode="auto">
              <a:xfrm>
                <a:off x="2965450" y="1743075"/>
                <a:ext cx="138113" cy="138113"/>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60" name="Oval 30">
                <a:extLst>
                  <a:ext uri="{FF2B5EF4-FFF2-40B4-BE49-F238E27FC236}">
                    <a16:creationId xmlns:a16="http://schemas.microsoft.com/office/drawing/2014/main" id="{AF1DE21C-D70E-884C-AA82-2A084715B61D}"/>
                  </a:ext>
                </a:extLst>
              </p:cNvPr>
              <p:cNvSpPr>
                <a:spLocks noChangeArrowheads="1"/>
              </p:cNvSpPr>
              <p:nvPr/>
            </p:nvSpPr>
            <p:spPr bwMode="auto">
              <a:xfrm>
                <a:off x="2778125" y="1935163"/>
                <a:ext cx="136525" cy="136525"/>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61" name="Oval 31">
                <a:extLst>
                  <a:ext uri="{FF2B5EF4-FFF2-40B4-BE49-F238E27FC236}">
                    <a16:creationId xmlns:a16="http://schemas.microsoft.com/office/drawing/2014/main" id="{6F291269-152A-554E-96D7-A1D6B089133A}"/>
                  </a:ext>
                </a:extLst>
              </p:cNvPr>
              <p:cNvSpPr>
                <a:spLocks noChangeArrowheads="1"/>
              </p:cNvSpPr>
              <p:nvPr/>
            </p:nvSpPr>
            <p:spPr bwMode="auto">
              <a:xfrm>
                <a:off x="2965450" y="1935163"/>
                <a:ext cx="138113" cy="136525"/>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62" name="Oval 32">
                <a:extLst>
                  <a:ext uri="{FF2B5EF4-FFF2-40B4-BE49-F238E27FC236}">
                    <a16:creationId xmlns:a16="http://schemas.microsoft.com/office/drawing/2014/main" id="{D88480C0-1C3A-F542-9A6B-55EDC3928D42}"/>
                  </a:ext>
                </a:extLst>
              </p:cNvPr>
              <p:cNvSpPr>
                <a:spLocks noChangeArrowheads="1"/>
              </p:cNvSpPr>
              <p:nvPr/>
            </p:nvSpPr>
            <p:spPr bwMode="auto">
              <a:xfrm>
                <a:off x="2778125" y="2127250"/>
                <a:ext cx="136525" cy="136525"/>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63" name="Oval 33">
                <a:extLst>
                  <a:ext uri="{FF2B5EF4-FFF2-40B4-BE49-F238E27FC236}">
                    <a16:creationId xmlns:a16="http://schemas.microsoft.com/office/drawing/2014/main" id="{697FFCFA-A4AE-404C-97A2-2DB3E9F647C3}"/>
                  </a:ext>
                </a:extLst>
              </p:cNvPr>
              <p:cNvSpPr>
                <a:spLocks noChangeArrowheads="1"/>
              </p:cNvSpPr>
              <p:nvPr/>
            </p:nvSpPr>
            <p:spPr bwMode="auto">
              <a:xfrm>
                <a:off x="2965450" y="2127250"/>
                <a:ext cx="138113" cy="136525"/>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64" name="Oval 34">
                <a:extLst>
                  <a:ext uri="{FF2B5EF4-FFF2-40B4-BE49-F238E27FC236}">
                    <a16:creationId xmlns:a16="http://schemas.microsoft.com/office/drawing/2014/main" id="{BA447B24-4FA3-844D-8B2D-5E50A20EBB6F}"/>
                  </a:ext>
                </a:extLst>
              </p:cNvPr>
              <p:cNvSpPr>
                <a:spLocks noChangeArrowheads="1"/>
              </p:cNvSpPr>
              <p:nvPr/>
            </p:nvSpPr>
            <p:spPr bwMode="auto">
              <a:xfrm>
                <a:off x="2778125" y="2316163"/>
                <a:ext cx="136525" cy="138113"/>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65" name="Oval 35">
                <a:extLst>
                  <a:ext uri="{FF2B5EF4-FFF2-40B4-BE49-F238E27FC236}">
                    <a16:creationId xmlns:a16="http://schemas.microsoft.com/office/drawing/2014/main" id="{C9E0CF3F-353E-DF46-835B-22257F94B6DF}"/>
                  </a:ext>
                </a:extLst>
              </p:cNvPr>
              <p:cNvSpPr>
                <a:spLocks noChangeArrowheads="1"/>
              </p:cNvSpPr>
              <p:nvPr/>
            </p:nvSpPr>
            <p:spPr bwMode="auto">
              <a:xfrm>
                <a:off x="2965450" y="2316163"/>
                <a:ext cx="138113" cy="138113"/>
              </a:xfrm>
              <a:prstGeom prst="ellipse">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38" name="Group 137">
              <a:extLst>
                <a:ext uri="{FF2B5EF4-FFF2-40B4-BE49-F238E27FC236}">
                  <a16:creationId xmlns:a16="http://schemas.microsoft.com/office/drawing/2014/main" id="{2CDB68C8-8CBF-1D4C-8749-531359E75A62}"/>
                </a:ext>
              </a:extLst>
            </p:cNvPr>
            <p:cNvGrpSpPr/>
            <p:nvPr/>
          </p:nvGrpSpPr>
          <p:grpSpPr>
            <a:xfrm>
              <a:off x="1768072" y="2799650"/>
              <a:ext cx="423863" cy="1950244"/>
              <a:chOff x="1465263" y="277811"/>
              <a:chExt cx="565150" cy="2600324"/>
            </a:xfrm>
          </p:grpSpPr>
          <p:sp>
            <p:nvSpPr>
              <p:cNvPr id="340" name="Rectangle 36">
                <a:extLst>
                  <a:ext uri="{FF2B5EF4-FFF2-40B4-BE49-F238E27FC236}">
                    <a16:creationId xmlns:a16="http://schemas.microsoft.com/office/drawing/2014/main" id="{A1246586-F8F6-D54A-9315-A644387D62E2}"/>
                  </a:ext>
                </a:extLst>
              </p:cNvPr>
              <p:cNvSpPr>
                <a:spLocks noChangeArrowheads="1"/>
              </p:cNvSpPr>
              <p:nvPr/>
            </p:nvSpPr>
            <p:spPr bwMode="auto">
              <a:xfrm>
                <a:off x="1465263" y="277811"/>
                <a:ext cx="565150" cy="2600324"/>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nvGrpSpPr>
              <p:cNvPr id="341" name="Group 340">
                <a:extLst>
                  <a:ext uri="{FF2B5EF4-FFF2-40B4-BE49-F238E27FC236}">
                    <a16:creationId xmlns:a16="http://schemas.microsoft.com/office/drawing/2014/main" id="{DC44BF84-0371-C04C-A7EC-46981F15FC14}"/>
                  </a:ext>
                </a:extLst>
              </p:cNvPr>
              <p:cNvGrpSpPr/>
              <p:nvPr/>
            </p:nvGrpSpPr>
            <p:grpSpPr>
              <a:xfrm>
                <a:off x="1522413" y="350837"/>
                <a:ext cx="452438" cy="2170114"/>
                <a:chOff x="1522413" y="350838"/>
                <a:chExt cx="452438" cy="1420812"/>
              </a:xfrm>
              <a:solidFill>
                <a:schemeClr val="accent3">
                  <a:lumMod val="60000"/>
                  <a:lumOff val="40000"/>
                </a:schemeClr>
              </a:solidFill>
            </p:grpSpPr>
            <p:sp>
              <p:nvSpPr>
                <p:cNvPr id="342" name="Rectangle 37">
                  <a:extLst>
                    <a:ext uri="{FF2B5EF4-FFF2-40B4-BE49-F238E27FC236}">
                      <a16:creationId xmlns:a16="http://schemas.microsoft.com/office/drawing/2014/main" id="{3D443ACF-2333-0047-8445-96B07898AAF8}"/>
                    </a:ext>
                  </a:extLst>
                </p:cNvPr>
                <p:cNvSpPr>
                  <a:spLocks noChangeArrowheads="1"/>
                </p:cNvSpPr>
                <p:nvPr/>
              </p:nvSpPr>
              <p:spPr bwMode="auto">
                <a:xfrm>
                  <a:off x="1522413" y="350838"/>
                  <a:ext cx="45243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43" name="Rectangle 38">
                  <a:extLst>
                    <a:ext uri="{FF2B5EF4-FFF2-40B4-BE49-F238E27FC236}">
                      <a16:creationId xmlns:a16="http://schemas.microsoft.com/office/drawing/2014/main" id="{2CFD1D24-05E2-4D4F-A5FA-169936432167}"/>
                    </a:ext>
                  </a:extLst>
                </p:cNvPr>
                <p:cNvSpPr>
                  <a:spLocks noChangeArrowheads="1"/>
                </p:cNvSpPr>
                <p:nvPr/>
              </p:nvSpPr>
              <p:spPr bwMode="auto">
                <a:xfrm>
                  <a:off x="1522413" y="449263"/>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44" name="Rectangle 39">
                  <a:extLst>
                    <a:ext uri="{FF2B5EF4-FFF2-40B4-BE49-F238E27FC236}">
                      <a16:creationId xmlns:a16="http://schemas.microsoft.com/office/drawing/2014/main" id="{71529FC3-6F25-EB49-8CF2-F9E01739221E}"/>
                    </a:ext>
                  </a:extLst>
                </p:cNvPr>
                <p:cNvSpPr>
                  <a:spLocks noChangeArrowheads="1"/>
                </p:cNvSpPr>
                <p:nvPr/>
              </p:nvSpPr>
              <p:spPr bwMode="auto">
                <a:xfrm>
                  <a:off x="1522413" y="549275"/>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45" name="Rectangle 40">
                  <a:extLst>
                    <a:ext uri="{FF2B5EF4-FFF2-40B4-BE49-F238E27FC236}">
                      <a16:creationId xmlns:a16="http://schemas.microsoft.com/office/drawing/2014/main" id="{61E64197-FA62-1C44-A6F9-66F945066CB8}"/>
                    </a:ext>
                  </a:extLst>
                </p:cNvPr>
                <p:cNvSpPr>
                  <a:spLocks noChangeArrowheads="1"/>
                </p:cNvSpPr>
                <p:nvPr/>
              </p:nvSpPr>
              <p:spPr bwMode="auto">
                <a:xfrm>
                  <a:off x="1522413" y="649288"/>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46" name="Rectangle 41">
                  <a:extLst>
                    <a:ext uri="{FF2B5EF4-FFF2-40B4-BE49-F238E27FC236}">
                      <a16:creationId xmlns:a16="http://schemas.microsoft.com/office/drawing/2014/main" id="{D5970FD7-6E24-E245-8971-40E1591A35CE}"/>
                    </a:ext>
                  </a:extLst>
                </p:cNvPr>
                <p:cNvSpPr>
                  <a:spLocks noChangeArrowheads="1"/>
                </p:cNvSpPr>
                <p:nvPr/>
              </p:nvSpPr>
              <p:spPr bwMode="auto">
                <a:xfrm>
                  <a:off x="1522413" y="747713"/>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47" name="Rectangle 42">
                  <a:extLst>
                    <a:ext uri="{FF2B5EF4-FFF2-40B4-BE49-F238E27FC236}">
                      <a16:creationId xmlns:a16="http://schemas.microsoft.com/office/drawing/2014/main" id="{3A74A22E-6DA4-584C-A649-B62ECD5A2D19}"/>
                    </a:ext>
                  </a:extLst>
                </p:cNvPr>
                <p:cNvSpPr>
                  <a:spLocks noChangeArrowheads="1"/>
                </p:cNvSpPr>
                <p:nvPr/>
              </p:nvSpPr>
              <p:spPr bwMode="auto">
                <a:xfrm>
                  <a:off x="1522413" y="846138"/>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48" name="Rectangle 43">
                  <a:extLst>
                    <a:ext uri="{FF2B5EF4-FFF2-40B4-BE49-F238E27FC236}">
                      <a16:creationId xmlns:a16="http://schemas.microsoft.com/office/drawing/2014/main" id="{3BCA8AA3-0469-554A-89D6-FC2CE18003DC}"/>
                    </a:ext>
                  </a:extLst>
                </p:cNvPr>
                <p:cNvSpPr>
                  <a:spLocks noChangeArrowheads="1"/>
                </p:cNvSpPr>
                <p:nvPr/>
              </p:nvSpPr>
              <p:spPr bwMode="auto">
                <a:xfrm>
                  <a:off x="1522413" y="947738"/>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49" name="Rectangle 44">
                  <a:extLst>
                    <a:ext uri="{FF2B5EF4-FFF2-40B4-BE49-F238E27FC236}">
                      <a16:creationId xmlns:a16="http://schemas.microsoft.com/office/drawing/2014/main" id="{62964008-26F4-004A-B34D-1E9AA03A6B48}"/>
                    </a:ext>
                  </a:extLst>
                </p:cNvPr>
                <p:cNvSpPr>
                  <a:spLocks noChangeArrowheads="1"/>
                </p:cNvSpPr>
                <p:nvPr/>
              </p:nvSpPr>
              <p:spPr bwMode="auto">
                <a:xfrm>
                  <a:off x="1522413" y="1046163"/>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50" name="Rectangle 45">
                  <a:extLst>
                    <a:ext uri="{FF2B5EF4-FFF2-40B4-BE49-F238E27FC236}">
                      <a16:creationId xmlns:a16="http://schemas.microsoft.com/office/drawing/2014/main" id="{3FE9D0B0-4886-B145-B627-4B8989385903}"/>
                    </a:ext>
                  </a:extLst>
                </p:cNvPr>
                <p:cNvSpPr>
                  <a:spLocks noChangeArrowheads="1"/>
                </p:cNvSpPr>
                <p:nvPr/>
              </p:nvSpPr>
              <p:spPr bwMode="auto">
                <a:xfrm>
                  <a:off x="1522413" y="1146175"/>
                  <a:ext cx="45243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51" name="Rectangle 46">
                  <a:extLst>
                    <a:ext uri="{FF2B5EF4-FFF2-40B4-BE49-F238E27FC236}">
                      <a16:creationId xmlns:a16="http://schemas.microsoft.com/office/drawing/2014/main" id="{C086101F-0845-0049-B50D-3094CFA9A3AD}"/>
                    </a:ext>
                  </a:extLst>
                </p:cNvPr>
                <p:cNvSpPr>
                  <a:spLocks noChangeArrowheads="1"/>
                </p:cNvSpPr>
                <p:nvPr/>
              </p:nvSpPr>
              <p:spPr bwMode="auto">
                <a:xfrm>
                  <a:off x="1522413" y="1244600"/>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52" name="Rectangle 47">
                  <a:extLst>
                    <a:ext uri="{FF2B5EF4-FFF2-40B4-BE49-F238E27FC236}">
                      <a16:creationId xmlns:a16="http://schemas.microsoft.com/office/drawing/2014/main" id="{824890FF-9373-4247-B431-AAD31FC6D37D}"/>
                    </a:ext>
                  </a:extLst>
                </p:cNvPr>
                <p:cNvSpPr>
                  <a:spLocks noChangeArrowheads="1"/>
                </p:cNvSpPr>
                <p:nvPr/>
              </p:nvSpPr>
              <p:spPr bwMode="auto">
                <a:xfrm>
                  <a:off x="1522413" y="1346200"/>
                  <a:ext cx="452438" cy="26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53" name="Rectangle 48">
                  <a:extLst>
                    <a:ext uri="{FF2B5EF4-FFF2-40B4-BE49-F238E27FC236}">
                      <a16:creationId xmlns:a16="http://schemas.microsoft.com/office/drawing/2014/main" id="{597E20CB-4FDD-844A-BD27-CAF35BE920D4}"/>
                    </a:ext>
                  </a:extLst>
                </p:cNvPr>
                <p:cNvSpPr>
                  <a:spLocks noChangeArrowheads="1"/>
                </p:cNvSpPr>
                <p:nvPr/>
              </p:nvSpPr>
              <p:spPr bwMode="auto">
                <a:xfrm>
                  <a:off x="1522413" y="1444625"/>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54" name="Rectangle 49">
                  <a:extLst>
                    <a:ext uri="{FF2B5EF4-FFF2-40B4-BE49-F238E27FC236}">
                      <a16:creationId xmlns:a16="http://schemas.microsoft.com/office/drawing/2014/main" id="{CCCD5782-0FAB-5640-999A-5FAC7187D819}"/>
                    </a:ext>
                  </a:extLst>
                </p:cNvPr>
                <p:cNvSpPr>
                  <a:spLocks noChangeArrowheads="1"/>
                </p:cNvSpPr>
                <p:nvPr/>
              </p:nvSpPr>
              <p:spPr bwMode="auto">
                <a:xfrm>
                  <a:off x="1522413" y="1543050"/>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55" name="Rectangle 50">
                  <a:extLst>
                    <a:ext uri="{FF2B5EF4-FFF2-40B4-BE49-F238E27FC236}">
                      <a16:creationId xmlns:a16="http://schemas.microsoft.com/office/drawing/2014/main" id="{DECDDA85-C80B-994A-AB97-98A3FD09AE1A}"/>
                    </a:ext>
                  </a:extLst>
                </p:cNvPr>
                <p:cNvSpPr>
                  <a:spLocks noChangeArrowheads="1"/>
                </p:cNvSpPr>
                <p:nvPr/>
              </p:nvSpPr>
              <p:spPr bwMode="auto">
                <a:xfrm>
                  <a:off x="1522413" y="1644650"/>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56" name="Rectangle 51">
                  <a:extLst>
                    <a:ext uri="{FF2B5EF4-FFF2-40B4-BE49-F238E27FC236}">
                      <a16:creationId xmlns:a16="http://schemas.microsoft.com/office/drawing/2014/main" id="{B9BFEB51-9F3B-FE4D-BE5F-90FED3E42C6A}"/>
                    </a:ext>
                  </a:extLst>
                </p:cNvPr>
                <p:cNvSpPr>
                  <a:spLocks noChangeArrowheads="1"/>
                </p:cNvSpPr>
                <p:nvPr/>
              </p:nvSpPr>
              <p:spPr bwMode="auto">
                <a:xfrm>
                  <a:off x="1522413" y="1743075"/>
                  <a:ext cx="45243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grpSp>
          <p:nvGrpSpPr>
            <p:cNvPr id="139" name="Group 138">
              <a:extLst>
                <a:ext uri="{FF2B5EF4-FFF2-40B4-BE49-F238E27FC236}">
                  <a16:creationId xmlns:a16="http://schemas.microsoft.com/office/drawing/2014/main" id="{D71B4044-E991-9E43-8B2F-772C1F94ED7C}"/>
                </a:ext>
              </a:extLst>
            </p:cNvPr>
            <p:cNvGrpSpPr/>
            <p:nvPr/>
          </p:nvGrpSpPr>
          <p:grpSpPr>
            <a:xfrm>
              <a:off x="3330712" y="3241373"/>
              <a:ext cx="426244" cy="1508522"/>
              <a:chOff x="1836738" y="2649538"/>
              <a:chExt cx="568325" cy="2011363"/>
            </a:xfrm>
          </p:grpSpPr>
          <p:sp>
            <p:nvSpPr>
              <p:cNvPr id="305" name="Freeform 52">
                <a:extLst>
                  <a:ext uri="{FF2B5EF4-FFF2-40B4-BE49-F238E27FC236}">
                    <a16:creationId xmlns:a16="http://schemas.microsoft.com/office/drawing/2014/main" id="{08DF23BA-F5A5-8F45-8D53-72AC6E1C2C58}"/>
                  </a:ext>
                </a:extLst>
              </p:cNvPr>
              <p:cNvSpPr>
                <a:spLocks/>
              </p:cNvSpPr>
              <p:nvPr/>
            </p:nvSpPr>
            <p:spPr bwMode="auto">
              <a:xfrm>
                <a:off x="1836738" y="2649538"/>
                <a:ext cx="568325" cy="2011363"/>
              </a:xfrm>
              <a:custGeom>
                <a:avLst/>
                <a:gdLst>
                  <a:gd name="T0" fmla="*/ 277 w 358"/>
                  <a:gd name="T1" fmla="*/ 154 h 1267"/>
                  <a:gd name="T2" fmla="*/ 277 w 358"/>
                  <a:gd name="T3" fmla="*/ 88 h 1267"/>
                  <a:gd name="T4" fmla="*/ 178 w 358"/>
                  <a:gd name="T5" fmla="*/ 0 h 1267"/>
                  <a:gd name="T6" fmla="*/ 80 w 358"/>
                  <a:gd name="T7" fmla="*/ 88 h 1267"/>
                  <a:gd name="T8" fmla="*/ 80 w 358"/>
                  <a:gd name="T9" fmla="*/ 154 h 1267"/>
                  <a:gd name="T10" fmla="*/ 0 w 358"/>
                  <a:gd name="T11" fmla="*/ 154 h 1267"/>
                  <a:gd name="T12" fmla="*/ 0 w 358"/>
                  <a:gd name="T13" fmla="*/ 1267 h 1267"/>
                  <a:gd name="T14" fmla="*/ 358 w 358"/>
                  <a:gd name="T15" fmla="*/ 1267 h 1267"/>
                  <a:gd name="T16" fmla="*/ 358 w 358"/>
                  <a:gd name="T17" fmla="*/ 154 h 1267"/>
                  <a:gd name="T18" fmla="*/ 277 w 358"/>
                  <a:gd name="T19" fmla="*/ 154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8" h="1267">
                    <a:moveTo>
                      <a:pt x="277" y="154"/>
                    </a:moveTo>
                    <a:lnTo>
                      <a:pt x="277" y="88"/>
                    </a:lnTo>
                    <a:lnTo>
                      <a:pt x="178" y="0"/>
                    </a:lnTo>
                    <a:lnTo>
                      <a:pt x="80" y="88"/>
                    </a:lnTo>
                    <a:lnTo>
                      <a:pt x="80" y="154"/>
                    </a:lnTo>
                    <a:lnTo>
                      <a:pt x="0" y="154"/>
                    </a:lnTo>
                    <a:lnTo>
                      <a:pt x="0" y="1267"/>
                    </a:lnTo>
                    <a:lnTo>
                      <a:pt x="358" y="1267"/>
                    </a:lnTo>
                    <a:lnTo>
                      <a:pt x="358" y="154"/>
                    </a:lnTo>
                    <a:lnTo>
                      <a:pt x="277" y="154"/>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06" name="Rectangle 53">
                <a:extLst>
                  <a:ext uri="{FF2B5EF4-FFF2-40B4-BE49-F238E27FC236}">
                    <a16:creationId xmlns:a16="http://schemas.microsoft.com/office/drawing/2014/main" id="{5FF02B87-C0E5-DF48-90CB-0DE9CC569565}"/>
                  </a:ext>
                </a:extLst>
              </p:cNvPr>
              <p:cNvSpPr>
                <a:spLocks noChangeArrowheads="1"/>
              </p:cNvSpPr>
              <p:nvPr/>
            </p:nvSpPr>
            <p:spPr bwMode="auto">
              <a:xfrm>
                <a:off x="2038350" y="2792413"/>
                <a:ext cx="57150"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07" name="Rectangle 54">
                <a:extLst>
                  <a:ext uri="{FF2B5EF4-FFF2-40B4-BE49-F238E27FC236}">
                    <a16:creationId xmlns:a16="http://schemas.microsoft.com/office/drawing/2014/main" id="{C831E8A1-EC57-0D4E-8687-85B1EA639E0E}"/>
                  </a:ext>
                </a:extLst>
              </p:cNvPr>
              <p:cNvSpPr>
                <a:spLocks noChangeArrowheads="1"/>
              </p:cNvSpPr>
              <p:nvPr/>
            </p:nvSpPr>
            <p:spPr bwMode="auto">
              <a:xfrm>
                <a:off x="2146300" y="2792413"/>
                <a:ext cx="55563"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08" name="Rectangle 55">
                <a:extLst>
                  <a:ext uri="{FF2B5EF4-FFF2-40B4-BE49-F238E27FC236}">
                    <a16:creationId xmlns:a16="http://schemas.microsoft.com/office/drawing/2014/main" id="{8880B9AF-F697-FA4C-93D1-2A05A1841CB1}"/>
                  </a:ext>
                </a:extLst>
              </p:cNvPr>
              <p:cNvSpPr>
                <a:spLocks noChangeArrowheads="1"/>
              </p:cNvSpPr>
              <p:nvPr/>
            </p:nvSpPr>
            <p:spPr bwMode="auto">
              <a:xfrm>
                <a:off x="1933575" y="3006725"/>
                <a:ext cx="57150"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09" name="Rectangle 56">
                <a:extLst>
                  <a:ext uri="{FF2B5EF4-FFF2-40B4-BE49-F238E27FC236}">
                    <a16:creationId xmlns:a16="http://schemas.microsoft.com/office/drawing/2014/main" id="{1001B0E5-9F3C-1643-8FA3-27DD2AA174D1}"/>
                  </a:ext>
                </a:extLst>
              </p:cNvPr>
              <p:cNvSpPr>
                <a:spLocks noChangeArrowheads="1"/>
              </p:cNvSpPr>
              <p:nvPr/>
            </p:nvSpPr>
            <p:spPr bwMode="auto">
              <a:xfrm>
                <a:off x="2041525" y="3006725"/>
                <a:ext cx="55563"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0" name="Rectangle 57">
                <a:extLst>
                  <a:ext uri="{FF2B5EF4-FFF2-40B4-BE49-F238E27FC236}">
                    <a16:creationId xmlns:a16="http://schemas.microsoft.com/office/drawing/2014/main" id="{1C1860B0-D228-FE4C-AD5E-A30DCE785972}"/>
                  </a:ext>
                </a:extLst>
              </p:cNvPr>
              <p:cNvSpPr>
                <a:spLocks noChangeArrowheads="1"/>
              </p:cNvSpPr>
              <p:nvPr/>
            </p:nvSpPr>
            <p:spPr bwMode="auto">
              <a:xfrm>
                <a:off x="2144713" y="3006725"/>
                <a:ext cx="55563"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1" name="Rectangle 58">
                <a:extLst>
                  <a:ext uri="{FF2B5EF4-FFF2-40B4-BE49-F238E27FC236}">
                    <a16:creationId xmlns:a16="http://schemas.microsoft.com/office/drawing/2014/main" id="{BDF52F0F-214B-8E48-A088-DD910830FACF}"/>
                  </a:ext>
                </a:extLst>
              </p:cNvPr>
              <p:cNvSpPr>
                <a:spLocks noChangeArrowheads="1"/>
              </p:cNvSpPr>
              <p:nvPr/>
            </p:nvSpPr>
            <p:spPr bwMode="auto">
              <a:xfrm>
                <a:off x="2251075" y="3006725"/>
                <a:ext cx="57150"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2" name="Rectangle 59">
                <a:extLst>
                  <a:ext uri="{FF2B5EF4-FFF2-40B4-BE49-F238E27FC236}">
                    <a16:creationId xmlns:a16="http://schemas.microsoft.com/office/drawing/2014/main" id="{67962F0A-716F-064A-89AD-43B034AC97E9}"/>
                  </a:ext>
                </a:extLst>
              </p:cNvPr>
              <p:cNvSpPr>
                <a:spLocks noChangeArrowheads="1"/>
              </p:cNvSpPr>
              <p:nvPr/>
            </p:nvSpPr>
            <p:spPr bwMode="auto">
              <a:xfrm>
                <a:off x="1933575" y="3189288"/>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3" name="Rectangle 60">
                <a:extLst>
                  <a:ext uri="{FF2B5EF4-FFF2-40B4-BE49-F238E27FC236}">
                    <a16:creationId xmlns:a16="http://schemas.microsoft.com/office/drawing/2014/main" id="{496E141B-7DE5-C843-ABA1-92C5CB88D5B7}"/>
                  </a:ext>
                </a:extLst>
              </p:cNvPr>
              <p:cNvSpPr>
                <a:spLocks noChangeArrowheads="1"/>
              </p:cNvSpPr>
              <p:nvPr/>
            </p:nvSpPr>
            <p:spPr bwMode="auto">
              <a:xfrm>
                <a:off x="2041525" y="3189288"/>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4" name="Rectangle 61">
                <a:extLst>
                  <a:ext uri="{FF2B5EF4-FFF2-40B4-BE49-F238E27FC236}">
                    <a16:creationId xmlns:a16="http://schemas.microsoft.com/office/drawing/2014/main" id="{7BC18372-0CD4-2F40-BC29-59EC2B91E01A}"/>
                  </a:ext>
                </a:extLst>
              </p:cNvPr>
              <p:cNvSpPr>
                <a:spLocks noChangeArrowheads="1"/>
              </p:cNvSpPr>
              <p:nvPr/>
            </p:nvSpPr>
            <p:spPr bwMode="auto">
              <a:xfrm>
                <a:off x="2144713" y="3189288"/>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5" name="Rectangle 62">
                <a:extLst>
                  <a:ext uri="{FF2B5EF4-FFF2-40B4-BE49-F238E27FC236}">
                    <a16:creationId xmlns:a16="http://schemas.microsoft.com/office/drawing/2014/main" id="{353B3708-4B49-594A-8465-54002C7228B6}"/>
                  </a:ext>
                </a:extLst>
              </p:cNvPr>
              <p:cNvSpPr>
                <a:spLocks noChangeArrowheads="1"/>
              </p:cNvSpPr>
              <p:nvPr/>
            </p:nvSpPr>
            <p:spPr bwMode="auto">
              <a:xfrm>
                <a:off x="2251075" y="3189288"/>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6" name="Rectangle 63">
                <a:extLst>
                  <a:ext uri="{FF2B5EF4-FFF2-40B4-BE49-F238E27FC236}">
                    <a16:creationId xmlns:a16="http://schemas.microsoft.com/office/drawing/2014/main" id="{1EAE5AED-05DD-2348-AD4D-023D9781FE9D}"/>
                  </a:ext>
                </a:extLst>
              </p:cNvPr>
              <p:cNvSpPr>
                <a:spLocks noChangeArrowheads="1"/>
              </p:cNvSpPr>
              <p:nvPr/>
            </p:nvSpPr>
            <p:spPr bwMode="auto">
              <a:xfrm>
                <a:off x="1933575" y="3371850"/>
                <a:ext cx="57150"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7" name="Rectangle 64">
                <a:extLst>
                  <a:ext uri="{FF2B5EF4-FFF2-40B4-BE49-F238E27FC236}">
                    <a16:creationId xmlns:a16="http://schemas.microsoft.com/office/drawing/2014/main" id="{18A79713-F391-4E43-AA93-4B64B7661AAA}"/>
                  </a:ext>
                </a:extLst>
              </p:cNvPr>
              <p:cNvSpPr>
                <a:spLocks noChangeArrowheads="1"/>
              </p:cNvSpPr>
              <p:nvPr/>
            </p:nvSpPr>
            <p:spPr bwMode="auto">
              <a:xfrm>
                <a:off x="2041525" y="3371850"/>
                <a:ext cx="55563"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8" name="Rectangle 65">
                <a:extLst>
                  <a:ext uri="{FF2B5EF4-FFF2-40B4-BE49-F238E27FC236}">
                    <a16:creationId xmlns:a16="http://schemas.microsoft.com/office/drawing/2014/main" id="{5D3D62D9-5F5C-5E40-A4D3-D05468716F2B}"/>
                  </a:ext>
                </a:extLst>
              </p:cNvPr>
              <p:cNvSpPr>
                <a:spLocks noChangeArrowheads="1"/>
              </p:cNvSpPr>
              <p:nvPr/>
            </p:nvSpPr>
            <p:spPr bwMode="auto">
              <a:xfrm>
                <a:off x="2144713" y="3371850"/>
                <a:ext cx="55563"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19" name="Rectangle 66">
                <a:extLst>
                  <a:ext uri="{FF2B5EF4-FFF2-40B4-BE49-F238E27FC236}">
                    <a16:creationId xmlns:a16="http://schemas.microsoft.com/office/drawing/2014/main" id="{C15A7602-BCEC-3345-A9BD-34353DD0DB26}"/>
                  </a:ext>
                </a:extLst>
              </p:cNvPr>
              <p:cNvSpPr>
                <a:spLocks noChangeArrowheads="1"/>
              </p:cNvSpPr>
              <p:nvPr/>
            </p:nvSpPr>
            <p:spPr bwMode="auto">
              <a:xfrm>
                <a:off x="2251075" y="3371850"/>
                <a:ext cx="57150"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0" name="Rectangle 67">
                <a:extLst>
                  <a:ext uri="{FF2B5EF4-FFF2-40B4-BE49-F238E27FC236}">
                    <a16:creationId xmlns:a16="http://schemas.microsoft.com/office/drawing/2014/main" id="{5BB8722D-F867-AA4C-ABF1-A4359155BD96}"/>
                  </a:ext>
                </a:extLst>
              </p:cNvPr>
              <p:cNvSpPr>
                <a:spLocks noChangeArrowheads="1"/>
              </p:cNvSpPr>
              <p:nvPr/>
            </p:nvSpPr>
            <p:spPr bwMode="auto">
              <a:xfrm>
                <a:off x="1933575" y="3554413"/>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1" name="Rectangle 68">
                <a:extLst>
                  <a:ext uri="{FF2B5EF4-FFF2-40B4-BE49-F238E27FC236}">
                    <a16:creationId xmlns:a16="http://schemas.microsoft.com/office/drawing/2014/main" id="{AFA144A1-2B2B-3746-B1A1-AE32B34ACFE2}"/>
                  </a:ext>
                </a:extLst>
              </p:cNvPr>
              <p:cNvSpPr>
                <a:spLocks noChangeArrowheads="1"/>
              </p:cNvSpPr>
              <p:nvPr/>
            </p:nvSpPr>
            <p:spPr bwMode="auto">
              <a:xfrm>
                <a:off x="2041525" y="3554413"/>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2" name="Rectangle 69">
                <a:extLst>
                  <a:ext uri="{FF2B5EF4-FFF2-40B4-BE49-F238E27FC236}">
                    <a16:creationId xmlns:a16="http://schemas.microsoft.com/office/drawing/2014/main" id="{033670A1-1F17-C341-9252-5668B3D94461}"/>
                  </a:ext>
                </a:extLst>
              </p:cNvPr>
              <p:cNvSpPr>
                <a:spLocks noChangeArrowheads="1"/>
              </p:cNvSpPr>
              <p:nvPr/>
            </p:nvSpPr>
            <p:spPr bwMode="auto">
              <a:xfrm>
                <a:off x="2144713" y="3554413"/>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3" name="Rectangle 70">
                <a:extLst>
                  <a:ext uri="{FF2B5EF4-FFF2-40B4-BE49-F238E27FC236}">
                    <a16:creationId xmlns:a16="http://schemas.microsoft.com/office/drawing/2014/main" id="{23DDE22A-D190-1748-B3FA-997325FE471D}"/>
                  </a:ext>
                </a:extLst>
              </p:cNvPr>
              <p:cNvSpPr>
                <a:spLocks noChangeArrowheads="1"/>
              </p:cNvSpPr>
              <p:nvPr/>
            </p:nvSpPr>
            <p:spPr bwMode="auto">
              <a:xfrm>
                <a:off x="2251075" y="3554413"/>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4" name="Rectangle 71">
                <a:extLst>
                  <a:ext uri="{FF2B5EF4-FFF2-40B4-BE49-F238E27FC236}">
                    <a16:creationId xmlns:a16="http://schemas.microsoft.com/office/drawing/2014/main" id="{FCD44745-70B1-4746-ADB2-1BE546BD44F3}"/>
                  </a:ext>
                </a:extLst>
              </p:cNvPr>
              <p:cNvSpPr>
                <a:spLocks noChangeArrowheads="1"/>
              </p:cNvSpPr>
              <p:nvPr/>
            </p:nvSpPr>
            <p:spPr bwMode="auto">
              <a:xfrm>
                <a:off x="1933575" y="3735388"/>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5" name="Rectangle 72">
                <a:extLst>
                  <a:ext uri="{FF2B5EF4-FFF2-40B4-BE49-F238E27FC236}">
                    <a16:creationId xmlns:a16="http://schemas.microsoft.com/office/drawing/2014/main" id="{17937333-85DE-8B46-804A-BC317EC6B9E3}"/>
                  </a:ext>
                </a:extLst>
              </p:cNvPr>
              <p:cNvSpPr>
                <a:spLocks noChangeArrowheads="1"/>
              </p:cNvSpPr>
              <p:nvPr/>
            </p:nvSpPr>
            <p:spPr bwMode="auto">
              <a:xfrm>
                <a:off x="2041525" y="3735388"/>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6" name="Rectangle 73">
                <a:extLst>
                  <a:ext uri="{FF2B5EF4-FFF2-40B4-BE49-F238E27FC236}">
                    <a16:creationId xmlns:a16="http://schemas.microsoft.com/office/drawing/2014/main" id="{1C769BD4-EE83-1D47-9E9E-C68C90FB1674}"/>
                  </a:ext>
                </a:extLst>
              </p:cNvPr>
              <p:cNvSpPr>
                <a:spLocks noChangeArrowheads="1"/>
              </p:cNvSpPr>
              <p:nvPr/>
            </p:nvSpPr>
            <p:spPr bwMode="auto">
              <a:xfrm>
                <a:off x="2144713" y="3735388"/>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7" name="Rectangle 74">
                <a:extLst>
                  <a:ext uri="{FF2B5EF4-FFF2-40B4-BE49-F238E27FC236}">
                    <a16:creationId xmlns:a16="http://schemas.microsoft.com/office/drawing/2014/main" id="{EEFD0859-9570-A544-ACF9-6662B01677D7}"/>
                  </a:ext>
                </a:extLst>
              </p:cNvPr>
              <p:cNvSpPr>
                <a:spLocks noChangeArrowheads="1"/>
              </p:cNvSpPr>
              <p:nvPr/>
            </p:nvSpPr>
            <p:spPr bwMode="auto">
              <a:xfrm>
                <a:off x="2251075" y="3735388"/>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8" name="Rectangle 75">
                <a:extLst>
                  <a:ext uri="{FF2B5EF4-FFF2-40B4-BE49-F238E27FC236}">
                    <a16:creationId xmlns:a16="http://schemas.microsoft.com/office/drawing/2014/main" id="{0842659B-FE49-344B-AAA8-A88875489E88}"/>
                  </a:ext>
                </a:extLst>
              </p:cNvPr>
              <p:cNvSpPr>
                <a:spLocks noChangeArrowheads="1"/>
              </p:cNvSpPr>
              <p:nvPr/>
            </p:nvSpPr>
            <p:spPr bwMode="auto">
              <a:xfrm>
                <a:off x="1933575" y="3919538"/>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29" name="Rectangle 76">
                <a:extLst>
                  <a:ext uri="{FF2B5EF4-FFF2-40B4-BE49-F238E27FC236}">
                    <a16:creationId xmlns:a16="http://schemas.microsoft.com/office/drawing/2014/main" id="{D3AA96C3-E03B-6D45-8F43-D7AF4C56421F}"/>
                  </a:ext>
                </a:extLst>
              </p:cNvPr>
              <p:cNvSpPr>
                <a:spLocks noChangeArrowheads="1"/>
              </p:cNvSpPr>
              <p:nvPr/>
            </p:nvSpPr>
            <p:spPr bwMode="auto">
              <a:xfrm>
                <a:off x="2041525" y="3919538"/>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0" name="Rectangle 77">
                <a:extLst>
                  <a:ext uri="{FF2B5EF4-FFF2-40B4-BE49-F238E27FC236}">
                    <a16:creationId xmlns:a16="http://schemas.microsoft.com/office/drawing/2014/main" id="{0CED2903-C671-FE44-BBF2-CDF8E295ACCE}"/>
                  </a:ext>
                </a:extLst>
              </p:cNvPr>
              <p:cNvSpPr>
                <a:spLocks noChangeArrowheads="1"/>
              </p:cNvSpPr>
              <p:nvPr/>
            </p:nvSpPr>
            <p:spPr bwMode="auto">
              <a:xfrm>
                <a:off x="2144713" y="3919538"/>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1" name="Rectangle 78">
                <a:extLst>
                  <a:ext uri="{FF2B5EF4-FFF2-40B4-BE49-F238E27FC236}">
                    <a16:creationId xmlns:a16="http://schemas.microsoft.com/office/drawing/2014/main" id="{7B06833B-9CB0-9746-ABD6-F9EBFD8BDEF1}"/>
                  </a:ext>
                </a:extLst>
              </p:cNvPr>
              <p:cNvSpPr>
                <a:spLocks noChangeArrowheads="1"/>
              </p:cNvSpPr>
              <p:nvPr/>
            </p:nvSpPr>
            <p:spPr bwMode="auto">
              <a:xfrm>
                <a:off x="2251075" y="3919538"/>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2" name="Rectangle 79">
                <a:extLst>
                  <a:ext uri="{FF2B5EF4-FFF2-40B4-BE49-F238E27FC236}">
                    <a16:creationId xmlns:a16="http://schemas.microsoft.com/office/drawing/2014/main" id="{FD0A4A9C-06A4-A143-A148-426B062CA89B}"/>
                  </a:ext>
                </a:extLst>
              </p:cNvPr>
              <p:cNvSpPr>
                <a:spLocks noChangeArrowheads="1"/>
              </p:cNvSpPr>
              <p:nvPr/>
            </p:nvSpPr>
            <p:spPr bwMode="auto">
              <a:xfrm>
                <a:off x="1933575" y="4100513"/>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3" name="Rectangle 80">
                <a:extLst>
                  <a:ext uri="{FF2B5EF4-FFF2-40B4-BE49-F238E27FC236}">
                    <a16:creationId xmlns:a16="http://schemas.microsoft.com/office/drawing/2014/main" id="{A07F56F3-7CA9-7F4C-82C3-55F7DD8503ED}"/>
                  </a:ext>
                </a:extLst>
              </p:cNvPr>
              <p:cNvSpPr>
                <a:spLocks noChangeArrowheads="1"/>
              </p:cNvSpPr>
              <p:nvPr/>
            </p:nvSpPr>
            <p:spPr bwMode="auto">
              <a:xfrm>
                <a:off x="2041525" y="4100513"/>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4" name="Rectangle 81">
                <a:extLst>
                  <a:ext uri="{FF2B5EF4-FFF2-40B4-BE49-F238E27FC236}">
                    <a16:creationId xmlns:a16="http://schemas.microsoft.com/office/drawing/2014/main" id="{945E8BD1-B639-EB42-AC31-7BF7FD2BC5DA}"/>
                  </a:ext>
                </a:extLst>
              </p:cNvPr>
              <p:cNvSpPr>
                <a:spLocks noChangeArrowheads="1"/>
              </p:cNvSpPr>
              <p:nvPr/>
            </p:nvSpPr>
            <p:spPr bwMode="auto">
              <a:xfrm>
                <a:off x="2144713" y="4100513"/>
                <a:ext cx="55563"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5" name="Rectangle 82">
                <a:extLst>
                  <a:ext uri="{FF2B5EF4-FFF2-40B4-BE49-F238E27FC236}">
                    <a16:creationId xmlns:a16="http://schemas.microsoft.com/office/drawing/2014/main" id="{2C00A0D5-A45A-1A49-9370-AE923EC10B51}"/>
                  </a:ext>
                </a:extLst>
              </p:cNvPr>
              <p:cNvSpPr>
                <a:spLocks noChangeArrowheads="1"/>
              </p:cNvSpPr>
              <p:nvPr/>
            </p:nvSpPr>
            <p:spPr bwMode="auto">
              <a:xfrm>
                <a:off x="2251075" y="4100513"/>
                <a:ext cx="57150" cy="133350"/>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6" name="Rectangle 83">
                <a:extLst>
                  <a:ext uri="{FF2B5EF4-FFF2-40B4-BE49-F238E27FC236}">
                    <a16:creationId xmlns:a16="http://schemas.microsoft.com/office/drawing/2014/main" id="{56FA9190-FA58-9C42-AEED-0104010A132F}"/>
                  </a:ext>
                </a:extLst>
              </p:cNvPr>
              <p:cNvSpPr>
                <a:spLocks noChangeArrowheads="1"/>
              </p:cNvSpPr>
              <p:nvPr/>
            </p:nvSpPr>
            <p:spPr bwMode="auto">
              <a:xfrm>
                <a:off x="1933575" y="4284663"/>
                <a:ext cx="57150"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7" name="Rectangle 84">
                <a:extLst>
                  <a:ext uri="{FF2B5EF4-FFF2-40B4-BE49-F238E27FC236}">
                    <a16:creationId xmlns:a16="http://schemas.microsoft.com/office/drawing/2014/main" id="{648D894D-179A-194D-A55A-C09FF8EB42FF}"/>
                  </a:ext>
                </a:extLst>
              </p:cNvPr>
              <p:cNvSpPr>
                <a:spLocks noChangeArrowheads="1"/>
              </p:cNvSpPr>
              <p:nvPr/>
            </p:nvSpPr>
            <p:spPr bwMode="auto">
              <a:xfrm>
                <a:off x="2041525" y="4284663"/>
                <a:ext cx="55563"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8" name="Rectangle 85">
                <a:extLst>
                  <a:ext uri="{FF2B5EF4-FFF2-40B4-BE49-F238E27FC236}">
                    <a16:creationId xmlns:a16="http://schemas.microsoft.com/office/drawing/2014/main" id="{459D3F84-5F0A-904F-B1C8-0EE0F1245517}"/>
                  </a:ext>
                </a:extLst>
              </p:cNvPr>
              <p:cNvSpPr>
                <a:spLocks noChangeArrowheads="1"/>
              </p:cNvSpPr>
              <p:nvPr/>
            </p:nvSpPr>
            <p:spPr bwMode="auto">
              <a:xfrm>
                <a:off x="2144713" y="4284663"/>
                <a:ext cx="55563"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39" name="Rectangle 86">
                <a:extLst>
                  <a:ext uri="{FF2B5EF4-FFF2-40B4-BE49-F238E27FC236}">
                    <a16:creationId xmlns:a16="http://schemas.microsoft.com/office/drawing/2014/main" id="{CBA4CB47-407D-F141-B27E-EEB5471FF79B}"/>
                  </a:ext>
                </a:extLst>
              </p:cNvPr>
              <p:cNvSpPr>
                <a:spLocks noChangeArrowheads="1"/>
              </p:cNvSpPr>
              <p:nvPr/>
            </p:nvSpPr>
            <p:spPr bwMode="auto">
              <a:xfrm>
                <a:off x="2251075" y="4284663"/>
                <a:ext cx="57150" cy="131763"/>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40" name="Group 139">
              <a:extLst>
                <a:ext uri="{FF2B5EF4-FFF2-40B4-BE49-F238E27FC236}">
                  <a16:creationId xmlns:a16="http://schemas.microsoft.com/office/drawing/2014/main" id="{E6E715BE-66F0-044D-B8C9-82F882EF3EB7}"/>
                </a:ext>
              </a:extLst>
            </p:cNvPr>
            <p:cNvGrpSpPr/>
            <p:nvPr/>
          </p:nvGrpSpPr>
          <p:grpSpPr>
            <a:xfrm>
              <a:off x="2624395" y="3200891"/>
              <a:ext cx="459581" cy="1549004"/>
              <a:chOff x="398463" y="2662238"/>
              <a:chExt cx="612775" cy="2065338"/>
            </a:xfrm>
          </p:grpSpPr>
          <p:sp>
            <p:nvSpPr>
              <p:cNvPr id="288" name="Freeform 87">
                <a:extLst>
                  <a:ext uri="{FF2B5EF4-FFF2-40B4-BE49-F238E27FC236}">
                    <a16:creationId xmlns:a16="http://schemas.microsoft.com/office/drawing/2014/main" id="{16EA7D67-BEF1-5540-8FE6-2D4DB151F5AB}"/>
                  </a:ext>
                </a:extLst>
              </p:cNvPr>
              <p:cNvSpPr>
                <a:spLocks/>
              </p:cNvSpPr>
              <p:nvPr/>
            </p:nvSpPr>
            <p:spPr bwMode="auto">
              <a:xfrm>
                <a:off x="398463" y="2662238"/>
                <a:ext cx="612775" cy="2065338"/>
              </a:xfrm>
              <a:custGeom>
                <a:avLst/>
                <a:gdLst>
                  <a:gd name="T0" fmla="*/ 342 w 386"/>
                  <a:gd name="T1" fmla="*/ 168 h 1301"/>
                  <a:gd name="T2" fmla="*/ 342 w 386"/>
                  <a:gd name="T3" fmla="*/ 82 h 1301"/>
                  <a:gd name="T4" fmla="*/ 306 w 386"/>
                  <a:gd name="T5" fmla="*/ 82 h 1301"/>
                  <a:gd name="T6" fmla="*/ 306 w 386"/>
                  <a:gd name="T7" fmla="*/ 0 h 1301"/>
                  <a:gd name="T8" fmla="*/ 71 w 386"/>
                  <a:gd name="T9" fmla="*/ 0 h 1301"/>
                  <a:gd name="T10" fmla="*/ 71 w 386"/>
                  <a:gd name="T11" fmla="*/ 82 h 1301"/>
                  <a:gd name="T12" fmla="*/ 35 w 386"/>
                  <a:gd name="T13" fmla="*/ 82 h 1301"/>
                  <a:gd name="T14" fmla="*/ 35 w 386"/>
                  <a:gd name="T15" fmla="*/ 168 h 1301"/>
                  <a:gd name="T16" fmla="*/ 0 w 386"/>
                  <a:gd name="T17" fmla="*/ 168 h 1301"/>
                  <a:gd name="T18" fmla="*/ 0 w 386"/>
                  <a:gd name="T19" fmla="*/ 1301 h 1301"/>
                  <a:gd name="T20" fmla="*/ 386 w 386"/>
                  <a:gd name="T21" fmla="*/ 1301 h 1301"/>
                  <a:gd name="T22" fmla="*/ 386 w 386"/>
                  <a:gd name="T23" fmla="*/ 168 h 1301"/>
                  <a:gd name="T24" fmla="*/ 342 w 386"/>
                  <a:gd name="T25" fmla="*/ 168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1301">
                    <a:moveTo>
                      <a:pt x="342" y="168"/>
                    </a:moveTo>
                    <a:lnTo>
                      <a:pt x="342" y="82"/>
                    </a:lnTo>
                    <a:lnTo>
                      <a:pt x="306" y="82"/>
                    </a:lnTo>
                    <a:lnTo>
                      <a:pt x="306" y="0"/>
                    </a:lnTo>
                    <a:lnTo>
                      <a:pt x="71" y="0"/>
                    </a:lnTo>
                    <a:lnTo>
                      <a:pt x="71" y="82"/>
                    </a:lnTo>
                    <a:lnTo>
                      <a:pt x="35" y="82"/>
                    </a:lnTo>
                    <a:lnTo>
                      <a:pt x="35" y="168"/>
                    </a:lnTo>
                    <a:lnTo>
                      <a:pt x="0" y="168"/>
                    </a:lnTo>
                    <a:lnTo>
                      <a:pt x="0" y="1301"/>
                    </a:lnTo>
                    <a:lnTo>
                      <a:pt x="386" y="1301"/>
                    </a:lnTo>
                    <a:lnTo>
                      <a:pt x="386" y="168"/>
                    </a:lnTo>
                    <a:lnTo>
                      <a:pt x="342" y="168"/>
                    </a:lnTo>
                    <a:close/>
                  </a:path>
                </a:pathLst>
              </a:custGeom>
              <a:solidFill>
                <a:srgbClr val="8AC64F"/>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89" name="Rectangle 88">
                <a:extLst>
                  <a:ext uri="{FF2B5EF4-FFF2-40B4-BE49-F238E27FC236}">
                    <a16:creationId xmlns:a16="http://schemas.microsoft.com/office/drawing/2014/main" id="{ECCC0318-F1A3-5E4E-89F5-67741316B200}"/>
                  </a:ext>
                </a:extLst>
              </p:cNvPr>
              <p:cNvSpPr>
                <a:spLocks noChangeArrowheads="1"/>
              </p:cNvSpPr>
              <p:nvPr/>
            </p:nvSpPr>
            <p:spPr bwMode="auto">
              <a:xfrm>
                <a:off x="482600" y="3027363"/>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0" name="Rectangle 89">
                <a:extLst>
                  <a:ext uri="{FF2B5EF4-FFF2-40B4-BE49-F238E27FC236}">
                    <a16:creationId xmlns:a16="http://schemas.microsoft.com/office/drawing/2014/main" id="{FDEE6C8D-6427-F14E-A66A-FD00D7BB3B51}"/>
                  </a:ext>
                </a:extLst>
              </p:cNvPr>
              <p:cNvSpPr>
                <a:spLocks noChangeArrowheads="1"/>
              </p:cNvSpPr>
              <p:nvPr/>
            </p:nvSpPr>
            <p:spPr bwMode="auto">
              <a:xfrm>
                <a:off x="601663" y="3027363"/>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1" name="Rectangle 90">
                <a:extLst>
                  <a:ext uri="{FF2B5EF4-FFF2-40B4-BE49-F238E27FC236}">
                    <a16:creationId xmlns:a16="http://schemas.microsoft.com/office/drawing/2014/main" id="{3C0F87A1-6455-9B4B-84CF-63D85AD4811F}"/>
                  </a:ext>
                </a:extLst>
              </p:cNvPr>
              <p:cNvSpPr>
                <a:spLocks noChangeArrowheads="1"/>
              </p:cNvSpPr>
              <p:nvPr/>
            </p:nvSpPr>
            <p:spPr bwMode="auto">
              <a:xfrm>
                <a:off x="719138" y="3027363"/>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2" name="Rectangle 91">
                <a:extLst>
                  <a:ext uri="{FF2B5EF4-FFF2-40B4-BE49-F238E27FC236}">
                    <a16:creationId xmlns:a16="http://schemas.microsoft.com/office/drawing/2014/main" id="{1F5B16BE-435A-8041-B867-33B33A3DDB98}"/>
                  </a:ext>
                </a:extLst>
              </p:cNvPr>
              <p:cNvSpPr>
                <a:spLocks noChangeArrowheads="1"/>
              </p:cNvSpPr>
              <p:nvPr/>
            </p:nvSpPr>
            <p:spPr bwMode="auto">
              <a:xfrm>
                <a:off x="838200" y="3027363"/>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3" name="Rectangle 92">
                <a:extLst>
                  <a:ext uri="{FF2B5EF4-FFF2-40B4-BE49-F238E27FC236}">
                    <a16:creationId xmlns:a16="http://schemas.microsoft.com/office/drawing/2014/main" id="{CC82F03B-F276-E946-B5A1-8C1B9F8BFA52}"/>
                  </a:ext>
                </a:extLst>
              </p:cNvPr>
              <p:cNvSpPr>
                <a:spLocks noChangeArrowheads="1"/>
              </p:cNvSpPr>
              <p:nvPr/>
            </p:nvSpPr>
            <p:spPr bwMode="auto">
              <a:xfrm>
                <a:off x="482600" y="3257550"/>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4" name="Rectangle 93">
                <a:extLst>
                  <a:ext uri="{FF2B5EF4-FFF2-40B4-BE49-F238E27FC236}">
                    <a16:creationId xmlns:a16="http://schemas.microsoft.com/office/drawing/2014/main" id="{68B7A1AD-5FD5-814F-84FD-C70EA6F6D95D}"/>
                  </a:ext>
                </a:extLst>
              </p:cNvPr>
              <p:cNvSpPr>
                <a:spLocks noChangeArrowheads="1"/>
              </p:cNvSpPr>
              <p:nvPr/>
            </p:nvSpPr>
            <p:spPr bwMode="auto">
              <a:xfrm>
                <a:off x="601663" y="3257550"/>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5" name="Rectangle 94">
                <a:extLst>
                  <a:ext uri="{FF2B5EF4-FFF2-40B4-BE49-F238E27FC236}">
                    <a16:creationId xmlns:a16="http://schemas.microsoft.com/office/drawing/2014/main" id="{D84DCF5F-ABD3-EF4A-9F6E-01CFBB43307B}"/>
                  </a:ext>
                </a:extLst>
              </p:cNvPr>
              <p:cNvSpPr>
                <a:spLocks noChangeArrowheads="1"/>
              </p:cNvSpPr>
              <p:nvPr/>
            </p:nvSpPr>
            <p:spPr bwMode="auto">
              <a:xfrm>
                <a:off x="719138" y="3257550"/>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6" name="Rectangle 95">
                <a:extLst>
                  <a:ext uri="{FF2B5EF4-FFF2-40B4-BE49-F238E27FC236}">
                    <a16:creationId xmlns:a16="http://schemas.microsoft.com/office/drawing/2014/main" id="{F2C378D6-03E3-BB4C-AE0A-2DF8017A2993}"/>
                  </a:ext>
                </a:extLst>
              </p:cNvPr>
              <p:cNvSpPr>
                <a:spLocks noChangeArrowheads="1"/>
              </p:cNvSpPr>
              <p:nvPr/>
            </p:nvSpPr>
            <p:spPr bwMode="auto">
              <a:xfrm>
                <a:off x="838200" y="3257550"/>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7" name="Rectangle 96">
                <a:extLst>
                  <a:ext uri="{FF2B5EF4-FFF2-40B4-BE49-F238E27FC236}">
                    <a16:creationId xmlns:a16="http://schemas.microsoft.com/office/drawing/2014/main" id="{B7FD48B2-4AE8-2B48-82C2-439594C1FD7A}"/>
                  </a:ext>
                </a:extLst>
              </p:cNvPr>
              <p:cNvSpPr>
                <a:spLocks noChangeArrowheads="1"/>
              </p:cNvSpPr>
              <p:nvPr/>
            </p:nvSpPr>
            <p:spPr bwMode="auto">
              <a:xfrm>
                <a:off x="482600" y="3486150"/>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8" name="Rectangle 97">
                <a:extLst>
                  <a:ext uri="{FF2B5EF4-FFF2-40B4-BE49-F238E27FC236}">
                    <a16:creationId xmlns:a16="http://schemas.microsoft.com/office/drawing/2014/main" id="{4DDDDB5D-A4C1-2447-BE2E-2FF7A7E67B65}"/>
                  </a:ext>
                </a:extLst>
              </p:cNvPr>
              <p:cNvSpPr>
                <a:spLocks noChangeArrowheads="1"/>
              </p:cNvSpPr>
              <p:nvPr/>
            </p:nvSpPr>
            <p:spPr bwMode="auto">
              <a:xfrm>
                <a:off x="601663" y="3486150"/>
                <a:ext cx="74613"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99" name="Rectangle 98">
                <a:extLst>
                  <a:ext uri="{FF2B5EF4-FFF2-40B4-BE49-F238E27FC236}">
                    <a16:creationId xmlns:a16="http://schemas.microsoft.com/office/drawing/2014/main" id="{3845B341-2095-6544-AAB6-D744827F98E7}"/>
                  </a:ext>
                </a:extLst>
              </p:cNvPr>
              <p:cNvSpPr>
                <a:spLocks noChangeArrowheads="1"/>
              </p:cNvSpPr>
              <p:nvPr/>
            </p:nvSpPr>
            <p:spPr bwMode="auto">
              <a:xfrm>
                <a:off x="719138" y="3486150"/>
                <a:ext cx="76200" cy="166688"/>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00" name="Rectangle 99">
                <a:extLst>
                  <a:ext uri="{FF2B5EF4-FFF2-40B4-BE49-F238E27FC236}">
                    <a16:creationId xmlns:a16="http://schemas.microsoft.com/office/drawing/2014/main" id="{8A77F20B-A903-D54D-8C6A-C0B5931FB260}"/>
                  </a:ext>
                </a:extLst>
              </p:cNvPr>
              <p:cNvSpPr>
                <a:spLocks noChangeArrowheads="1"/>
              </p:cNvSpPr>
              <p:nvPr/>
            </p:nvSpPr>
            <p:spPr bwMode="auto">
              <a:xfrm>
                <a:off x="838200" y="3486150"/>
                <a:ext cx="74613" cy="166688"/>
              </a:xfrm>
              <a:prstGeom prst="rect">
                <a:avLst/>
              </a:prstGeom>
              <a:solidFill>
                <a:schemeClr val="accent6">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01" name="Rectangle 100">
                <a:extLst>
                  <a:ext uri="{FF2B5EF4-FFF2-40B4-BE49-F238E27FC236}">
                    <a16:creationId xmlns:a16="http://schemas.microsoft.com/office/drawing/2014/main" id="{6CB29D65-90E7-8E43-A256-E6BD02AE02E6}"/>
                  </a:ext>
                </a:extLst>
              </p:cNvPr>
              <p:cNvSpPr>
                <a:spLocks noChangeArrowheads="1"/>
              </p:cNvSpPr>
              <p:nvPr/>
            </p:nvSpPr>
            <p:spPr bwMode="auto">
              <a:xfrm>
                <a:off x="482600" y="3713163"/>
                <a:ext cx="76200" cy="16827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02" name="Rectangle 101">
                <a:extLst>
                  <a:ext uri="{FF2B5EF4-FFF2-40B4-BE49-F238E27FC236}">
                    <a16:creationId xmlns:a16="http://schemas.microsoft.com/office/drawing/2014/main" id="{CF5582AB-8AA9-9E44-8230-44E9590903CC}"/>
                  </a:ext>
                </a:extLst>
              </p:cNvPr>
              <p:cNvSpPr>
                <a:spLocks noChangeArrowheads="1"/>
              </p:cNvSpPr>
              <p:nvPr/>
            </p:nvSpPr>
            <p:spPr bwMode="auto">
              <a:xfrm>
                <a:off x="601663" y="3713163"/>
                <a:ext cx="74613" cy="16827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03" name="Rectangle 102">
                <a:extLst>
                  <a:ext uri="{FF2B5EF4-FFF2-40B4-BE49-F238E27FC236}">
                    <a16:creationId xmlns:a16="http://schemas.microsoft.com/office/drawing/2014/main" id="{5CA92E05-EBFF-DA47-918C-1472125254FB}"/>
                  </a:ext>
                </a:extLst>
              </p:cNvPr>
              <p:cNvSpPr>
                <a:spLocks noChangeArrowheads="1"/>
              </p:cNvSpPr>
              <p:nvPr/>
            </p:nvSpPr>
            <p:spPr bwMode="auto">
              <a:xfrm>
                <a:off x="719138" y="3713163"/>
                <a:ext cx="76200" cy="16827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304" name="Rectangle 103">
                <a:extLst>
                  <a:ext uri="{FF2B5EF4-FFF2-40B4-BE49-F238E27FC236}">
                    <a16:creationId xmlns:a16="http://schemas.microsoft.com/office/drawing/2014/main" id="{7ACCFEB2-1EAB-6D4C-B150-DF32DB3614E8}"/>
                  </a:ext>
                </a:extLst>
              </p:cNvPr>
              <p:cNvSpPr>
                <a:spLocks noChangeArrowheads="1"/>
              </p:cNvSpPr>
              <p:nvPr/>
            </p:nvSpPr>
            <p:spPr bwMode="auto">
              <a:xfrm>
                <a:off x="838200" y="3713163"/>
                <a:ext cx="74613" cy="168275"/>
              </a:xfrm>
              <a:prstGeom prst="rect">
                <a:avLst/>
              </a:prstGeom>
              <a:solidFill>
                <a:schemeClr val="accent6">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41" name="Group 140">
              <a:extLst>
                <a:ext uri="{FF2B5EF4-FFF2-40B4-BE49-F238E27FC236}">
                  <a16:creationId xmlns:a16="http://schemas.microsoft.com/office/drawing/2014/main" id="{AF4AA5FB-E8D4-AA4D-ADA3-4FCE9F053788}"/>
                </a:ext>
              </a:extLst>
            </p:cNvPr>
            <p:cNvGrpSpPr/>
            <p:nvPr/>
          </p:nvGrpSpPr>
          <p:grpSpPr>
            <a:xfrm>
              <a:off x="2941050" y="3745007"/>
              <a:ext cx="425054" cy="1004888"/>
              <a:chOff x="896938" y="3360738"/>
              <a:chExt cx="566738" cy="1339850"/>
            </a:xfrm>
          </p:grpSpPr>
          <p:sp>
            <p:nvSpPr>
              <p:cNvPr id="278" name="Freeform 104">
                <a:extLst>
                  <a:ext uri="{FF2B5EF4-FFF2-40B4-BE49-F238E27FC236}">
                    <a16:creationId xmlns:a16="http://schemas.microsoft.com/office/drawing/2014/main" id="{E8478CBE-3B21-0C40-B2FA-2F6F4DF629AF}"/>
                  </a:ext>
                </a:extLst>
              </p:cNvPr>
              <p:cNvSpPr>
                <a:spLocks/>
              </p:cNvSpPr>
              <p:nvPr/>
            </p:nvSpPr>
            <p:spPr bwMode="auto">
              <a:xfrm>
                <a:off x="896938" y="3360738"/>
                <a:ext cx="566738" cy="1339850"/>
              </a:xfrm>
              <a:custGeom>
                <a:avLst/>
                <a:gdLst>
                  <a:gd name="T0" fmla="*/ 357 w 357"/>
                  <a:gd name="T1" fmla="*/ 844 h 844"/>
                  <a:gd name="T2" fmla="*/ 0 w 357"/>
                  <a:gd name="T3" fmla="*/ 844 h 844"/>
                  <a:gd name="T4" fmla="*/ 0 w 357"/>
                  <a:gd name="T5" fmla="*/ 132 h 844"/>
                  <a:gd name="T6" fmla="*/ 72 w 357"/>
                  <a:gd name="T7" fmla="*/ 0 h 844"/>
                  <a:gd name="T8" fmla="*/ 281 w 357"/>
                  <a:gd name="T9" fmla="*/ 0 h 844"/>
                  <a:gd name="T10" fmla="*/ 357 w 357"/>
                  <a:gd name="T11" fmla="*/ 132 h 844"/>
                  <a:gd name="T12" fmla="*/ 357 w 357"/>
                  <a:gd name="T13" fmla="*/ 844 h 844"/>
                </a:gdLst>
                <a:ahLst/>
                <a:cxnLst>
                  <a:cxn ang="0">
                    <a:pos x="T0" y="T1"/>
                  </a:cxn>
                  <a:cxn ang="0">
                    <a:pos x="T2" y="T3"/>
                  </a:cxn>
                  <a:cxn ang="0">
                    <a:pos x="T4" y="T5"/>
                  </a:cxn>
                  <a:cxn ang="0">
                    <a:pos x="T6" y="T7"/>
                  </a:cxn>
                  <a:cxn ang="0">
                    <a:pos x="T8" y="T9"/>
                  </a:cxn>
                  <a:cxn ang="0">
                    <a:pos x="T10" y="T11"/>
                  </a:cxn>
                  <a:cxn ang="0">
                    <a:pos x="T12" y="T13"/>
                  </a:cxn>
                </a:cxnLst>
                <a:rect l="0" t="0" r="r" b="b"/>
                <a:pathLst>
                  <a:path w="357" h="844">
                    <a:moveTo>
                      <a:pt x="357" y="844"/>
                    </a:moveTo>
                    <a:lnTo>
                      <a:pt x="0" y="844"/>
                    </a:lnTo>
                    <a:lnTo>
                      <a:pt x="0" y="132"/>
                    </a:lnTo>
                    <a:lnTo>
                      <a:pt x="72" y="0"/>
                    </a:lnTo>
                    <a:lnTo>
                      <a:pt x="281" y="0"/>
                    </a:lnTo>
                    <a:lnTo>
                      <a:pt x="357" y="132"/>
                    </a:lnTo>
                    <a:lnTo>
                      <a:pt x="357" y="844"/>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79" name="Rectangle 105">
                <a:extLst>
                  <a:ext uri="{FF2B5EF4-FFF2-40B4-BE49-F238E27FC236}">
                    <a16:creationId xmlns:a16="http://schemas.microsoft.com/office/drawing/2014/main" id="{33DC21E2-9630-1C46-8A60-2F0379229F5B}"/>
                  </a:ext>
                </a:extLst>
              </p:cNvPr>
              <p:cNvSpPr>
                <a:spLocks noChangeArrowheads="1"/>
              </p:cNvSpPr>
              <p:nvPr/>
            </p:nvSpPr>
            <p:spPr bwMode="auto">
              <a:xfrm>
                <a:off x="1023938" y="3575050"/>
                <a:ext cx="76200" cy="166688"/>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80" name="Rectangle 106">
                <a:extLst>
                  <a:ext uri="{FF2B5EF4-FFF2-40B4-BE49-F238E27FC236}">
                    <a16:creationId xmlns:a16="http://schemas.microsoft.com/office/drawing/2014/main" id="{F66E29BE-DFB5-FA4D-816C-1D0C1F89DFD8}"/>
                  </a:ext>
                </a:extLst>
              </p:cNvPr>
              <p:cNvSpPr>
                <a:spLocks noChangeArrowheads="1"/>
              </p:cNvSpPr>
              <p:nvPr/>
            </p:nvSpPr>
            <p:spPr bwMode="auto">
              <a:xfrm>
                <a:off x="1143000" y="3575050"/>
                <a:ext cx="74613" cy="166688"/>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81" name="Rectangle 107">
                <a:extLst>
                  <a:ext uri="{FF2B5EF4-FFF2-40B4-BE49-F238E27FC236}">
                    <a16:creationId xmlns:a16="http://schemas.microsoft.com/office/drawing/2014/main" id="{C7D2943F-E649-464D-BF43-55DD1661E3DD}"/>
                  </a:ext>
                </a:extLst>
              </p:cNvPr>
              <p:cNvSpPr>
                <a:spLocks noChangeArrowheads="1"/>
              </p:cNvSpPr>
              <p:nvPr/>
            </p:nvSpPr>
            <p:spPr bwMode="auto">
              <a:xfrm>
                <a:off x="1260475" y="3575050"/>
                <a:ext cx="76200" cy="166688"/>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82" name="Rectangle 108">
                <a:extLst>
                  <a:ext uri="{FF2B5EF4-FFF2-40B4-BE49-F238E27FC236}">
                    <a16:creationId xmlns:a16="http://schemas.microsoft.com/office/drawing/2014/main" id="{367A4EFD-9A52-D249-9CA8-DF9068858D05}"/>
                  </a:ext>
                </a:extLst>
              </p:cNvPr>
              <p:cNvSpPr>
                <a:spLocks noChangeArrowheads="1"/>
              </p:cNvSpPr>
              <p:nvPr/>
            </p:nvSpPr>
            <p:spPr bwMode="auto">
              <a:xfrm>
                <a:off x="1023938" y="3786188"/>
                <a:ext cx="76200" cy="16827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83" name="Rectangle 109">
                <a:extLst>
                  <a:ext uri="{FF2B5EF4-FFF2-40B4-BE49-F238E27FC236}">
                    <a16:creationId xmlns:a16="http://schemas.microsoft.com/office/drawing/2014/main" id="{0B2E7A44-5870-3A4A-8E76-20D7B3639ED2}"/>
                  </a:ext>
                </a:extLst>
              </p:cNvPr>
              <p:cNvSpPr>
                <a:spLocks noChangeArrowheads="1"/>
              </p:cNvSpPr>
              <p:nvPr/>
            </p:nvSpPr>
            <p:spPr bwMode="auto">
              <a:xfrm>
                <a:off x="1143000" y="3786188"/>
                <a:ext cx="74613" cy="16827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84" name="Rectangle 110">
                <a:extLst>
                  <a:ext uri="{FF2B5EF4-FFF2-40B4-BE49-F238E27FC236}">
                    <a16:creationId xmlns:a16="http://schemas.microsoft.com/office/drawing/2014/main" id="{9AEF264A-A0AB-EE44-9EF7-96F01DBB1579}"/>
                  </a:ext>
                </a:extLst>
              </p:cNvPr>
              <p:cNvSpPr>
                <a:spLocks noChangeArrowheads="1"/>
              </p:cNvSpPr>
              <p:nvPr/>
            </p:nvSpPr>
            <p:spPr bwMode="auto">
              <a:xfrm>
                <a:off x="1260475" y="3786188"/>
                <a:ext cx="76200" cy="16827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85" name="Rectangle 111">
                <a:extLst>
                  <a:ext uri="{FF2B5EF4-FFF2-40B4-BE49-F238E27FC236}">
                    <a16:creationId xmlns:a16="http://schemas.microsoft.com/office/drawing/2014/main" id="{103124FB-61C7-AF4D-9ABA-FC383C5E4620}"/>
                  </a:ext>
                </a:extLst>
              </p:cNvPr>
              <p:cNvSpPr>
                <a:spLocks noChangeArrowheads="1"/>
              </p:cNvSpPr>
              <p:nvPr/>
            </p:nvSpPr>
            <p:spPr bwMode="auto">
              <a:xfrm>
                <a:off x="1023938" y="3995738"/>
                <a:ext cx="76200" cy="16827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86" name="Rectangle 112">
                <a:extLst>
                  <a:ext uri="{FF2B5EF4-FFF2-40B4-BE49-F238E27FC236}">
                    <a16:creationId xmlns:a16="http://schemas.microsoft.com/office/drawing/2014/main" id="{96DBE541-A9E9-EC4D-94B9-4AF929E89CE7}"/>
                  </a:ext>
                </a:extLst>
              </p:cNvPr>
              <p:cNvSpPr>
                <a:spLocks noChangeArrowheads="1"/>
              </p:cNvSpPr>
              <p:nvPr/>
            </p:nvSpPr>
            <p:spPr bwMode="auto">
              <a:xfrm>
                <a:off x="1143000" y="3995738"/>
                <a:ext cx="74613" cy="16827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87" name="Rectangle 113">
                <a:extLst>
                  <a:ext uri="{FF2B5EF4-FFF2-40B4-BE49-F238E27FC236}">
                    <a16:creationId xmlns:a16="http://schemas.microsoft.com/office/drawing/2014/main" id="{A9BCD6D7-FE06-374A-823F-0D2E1136F964}"/>
                  </a:ext>
                </a:extLst>
              </p:cNvPr>
              <p:cNvSpPr>
                <a:spLocks noChangeArrowheads="1"/>
              </p:cNvSpPr>
              <p:nvPr/>
            </p:nvSpPr>
            <p:spPr bwMode="auto">
              <a:xfrm>
                <a:off x="1260475" y="3995738"/>
                <a:ext cx="76200" cy="16827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42" name="Group 141">
              <a:extLst>
                <a:ext uri="{FF2B5EF4-FFF2-40B4-BE49-F238E27FC236}">
                  <a16:creationId xmlns:a16="http://schemas.microsoft.com/office/drawing/2014/main" id="{722026AF-1775-CB4E-9879-158F216D9365}"/>
                </a:ext>
              </a:extLst>
            </p:cNvPr>
            <p:cNvGrpSpPr/>
            <p:nvPr/>
          </p:nvGrpSpPr>
          <p:grpSpPr>
            <a:xfrm>
              <a:off x="2353884" y="3941461"/>
              <a:ext cx="426244" cy="808435"/>
              <a:chOff x="2089150" y="4514850"/>
              <a:chExt cx="568325" cy="1077913"/>
            </a:xfrm>
          </p:grpSpPr>
          <p:sp>
            <p:nvSpPr>
              <p:cNvPr id="268" name="Freeform 121">
                <a:extLst>
                  <a:ext uri="{FF2B5EF4-FFF2-40B4-BE49-F238E27FC236}">
                    <a16:creationId xmlns:a16="http://schemas.microsoft.com/office/drawing/2014/main" id="{AA896881-5A63-5042-8C2E-A7AD5D7BCCB1}"/>
                  </a:ext>
                </a:extLst>
              </p:cNvPr>
              <p:cNvSpPr>
                <a:spLocks/>
              </p:cNvSpPr>
              <p:nvPr/>
            </p:nvSpPr>
            <p:spPr bwMode="auto">
              <a:xfrm>
                <a:off x="2089150" y="4514850"/>
                <a:ext cx="568325" cy="1077913"/>
              </a:xfrm>
              <a:custGeom>
                <a:avLst/>
                <a:gdLst>
                  <a:gd name="T0" fmla="*/ 358 w 358"/>
                  <a:gd name="T1" fmla="*/ 679 h 679"/>
                  <a:gd name="T2" fmla="*/ 0 w 358"/>
                  <a:gd name="T3" fmla="*/ 679 h 679"/>
                  <a:gd name="T4" fmla="*/ 0 w 358"/>
                  <a:gd name="T5" fmla="*/ 243 h 679"/>
                  <a:gd name="T6" fmla="*/ 178 w 358"/>
                  <a:gd name="T7" fmla="*/ 0 h 679"/>
                  <a:gd name="T8" fmla="*/ 358 w 358"/>
                  <a:gd name="T9" fmla="*/ 243 h 679"/>
                  <a:gd name="T10" fmla="*/ 358 w 358"/>
                  <a:gd name="T11" fmla="*/ 679 h 679"/>
                </a:gdLst>
                <a:ahLst/>
                <a:cxnLst>
                  <a:cxn ang="0">
                    <a:pos x="T0" y="T1"/>
                  </a:cxn>
                  <a:cxn ang="0">
                    <a:pos x="T2" y="T3"/>
                  </a:cxn>
                  <a:cxn ang="0">
                    <a:pos x="T4" y="T5"/>
                  </a:cxn>
                  <a:cxn ang="0">
                    <a:pos x="T6" y="T7"/>
                  </a:cxn>
                  <a:cxn ang="0">
                    <a:pos x="T8" y="T9"/>
                  </a:cxn>
                  <a:cxn ang="0">
                    <a:pos x="T10" y="T11"/>
                  </a:cxn>
                </a:cxnLst>
                <a:rect l="0" t="0" r="r" b="b"/>
                <a:pathLst>
                  <a:path w="358" h="679">
                    <a:moveTo>
                      <a:pt x="358" y="679"/>
                    </a:moveTo>
                    <a:lnTo>
                      <a:pt x="0" y="679"/>
                    </a:lnTo>
                    <a:lnTo>
                      <a:pt x="0" y="243"/>
                    </a:lnTo>
                    <a:lnTo>
                      <a:pt x="178" y="0"/>
                    </a:lnTo>
                    <a:lnTo>
                      <a:pt x="358" y="243"/>
                    </a:lnTo>
                    <a:lnTo>
                      <a:pt x="358" y="67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nvGrpSpPr>
              <p:cNvPr id="269" name="Group 268">
                <a:extLst>
                  <a:ext uri="{FF2B5EF4-FFF2-40B4-BE49-F238E27FC236}">
                    <a16:creationId xmlns:a16="http://schemas.microsoft.com/office/drawing/2014/main" id="{6D32A377-108F-5347-B094-002BEB15EECF}"/>
                  </a:ext>
                </a:extLst>
              </p:cNvPr>
              <p:cNvGrpSpPr/>
              <p:nvPr/>
            </p:nvGrpSpPr>
            <p:grpSpPr>
              <a:xfrm>
                <a:off x="2160588" y="4946650"/>
                <a:ext cx="423862" cy="392113"/>
                <a:chOff x="2160588" y="4946650"/>
                <a:chExt cx="423862" cy="392113"/>
              </a:xfrm>
              <a:solidFill>
                <a:schemeClr val="accent4">
                  <a:lumMod val="60000"/>
                  <a:lumOff val="40000"/>
                </a:schemeClr>
              </a:solidFill>
            </p:grpSpPr>
            <p:sp>
              <p:nvSpPr>
                <p:cNvPr id="270" name="Freeform 122">
                  <a:extLst>
                    <a:ext uri="{FF2B5EF4-FFF2-40B4-BE49-F238E27FC236}">
                      <a16:creationId xmlns:a16="http://schemas.microsoft.com/office/drawing/2014/main" id="{1444152F-4F6E-FC49-86A4-FB1BB07FBC68}"/>
                    </a:ext>
                  </a:extLst>
                </p:cNvPr>
                <p:cNvSpPr>
                  <a:spLocks/>
                </p:cNvSpPr>
                <p:nvPr/>
              </p:nvSpPr>
              <p:spPr bwMode="auto">
                <a:xfrm>
                  <a:off x="2160588" y="4946650"/>
                  <a:ext cx="84138" cy="176213"/>
                </a:xfrm>
                <a:custGeom>
                  <a:avLst/>
                  <a:gdLst>
                    <a:gd name="T0" fmla="*/ 42 w 42"/>
                    <a:gd name="T1" fmla="*/ 21 h 87"/>
                    <a:gd name="T2" fmla="*/ 42 w 42"/>
                    <a:gd name="T3" fmla="*/ 21 h 87"/>
                    <a:gd name="T4" fmla="*/ 21 w 42"/>
                    <a:gd name="T5" fmla="*/ 0 h 87"/>
                    <a:gd name="T6" fmla="*/ 0 w 42"/>
                    <a:gd name="T7" fmla="*/ 21 h 87"/>
                    <a:gd name="T8" fmla="*/ 1 w 42"/>
                    <a:gd name="T9" fmla="*/ 21 h 87"/>
                    <a:gd name="T10" fmla="*/ 0 w 42"/>
                    <a:gd name="T11" fmla="*/ 21 h 87"/>
                    <a:gd name="T12" fmla="*/ 0 w 42"/>
                    <a:gd name="T13" fmla="*/ 87 h 87"/>
                    <a:gd name="T14" fmla="*/ 42 w 42"/>
                    <a:gd name="T15" fmla="*/ 87 h 87"/>
                    <a:gd name="T16" fmla="*/ 42 w 42"/>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7">
                      <a:moveTo>
                        <a:pt x="42" y="21"/>
                      </a:moveTo>
                      <a:cubicBezTo>
                        <a:pt x="42" y="21"/>
                        <a:pt x="42" y="21"/>
                        <a:pt x="42" y="21"/>
                      </a:cubicBezTo>
                      <a:cubicBezTo>
                        <a:pt x="42" y="10"/>
                        <a:pt x="33" y="0"/>
                        <a:pt x="21" y="0"/>
                      </a:cubicBezTo>
                      <a:cubicBezTo>
                        <a:pt x="10" y="0"/>
                        <a:pt x="0" y="10"/>
                        <a:pt x="0" y="21"/>
                      </a:cubicBezTo>
                      <a:cubicBezTo>
                        <a:pt x="0" y="21"/>
                        <a:pt x="1" y="21"/>
                        <a:pt x="1" y="21"/>
                      </a:cubicBezTo>
                      <a:cubicBezTo>
                        <a:pt x="0" y="21"/>
                        <a:pt x="0" y="21"/>
                        <a:pt x="0" y="21"/>
                      </a:cubicBezTo>
                      <a:cubicBezTo>
                        <a:pt x="0" y="87"/>
                        <a:pt x="0" y="87"/>
                        <a:pt x="0" y="87"/>
                      </a:cubicBezTo>
                      <a:cubicBezTo>
                        <a:pt x="42" y="87"/>
                        <a:pt x="42" y="87"/>
                        <a:pt x="42" y="87"/>
                      </a:cubicBezTo>
                      <a:cubicBezTo>
                        <a:pt x="42" y="21"/>
                        <a:pt x="42" y="21"/>
                        <a:pt x="4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71" name="Freeform 123">
                  <a:extLst>
                    <a:ext uri="{FF2B5EF4-FFF2-40B4-BE49-F238E27FC236}">
                      <a16:creationId xmlns:a16="http://schemas.microsoft.com/office/drawing/2014/main" id="{A6A20D34-B50C-AF41-87C4-E0BD6B6ACF11}"/>
                    </a:ext>
                  </a:extLst>
                </p:cNvPr>
                <p:cNvSpPr>
                  <a:spLocks/>
                </p:cNvSpPr>
                <p:nvPr/>
              </p:nvSpPr>
              <p:spPr bwMode="auto">
                <a:xfrm>
                  <a:off x="2274888" y="4946650"/>
                  <a:ext cx="82550" cy="176213"/>
                </a:xfrm>
                <a:custGeom>
                  <a:avLst/>
                  <a:gdLst>
                    <a:gd name="T0" fmla="*/ 41 w 41"/>
                    <a:gd name="T1" fmla="*/ 21 h 87"/>
                    <a:gd name="T2" fmla="*/ 41 w 41"/>
                    <a:gd name="T3" fmla="*/ 21 h 87"/>
                    <a:gd name="T4" fmla="*/ 20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10"/>
                        <a:pt x="32" y="0"/>
                        <a:pt x="20" y="0"/>
                      </a:cubicBezTo>
                      <a:cubicBezTo>
                        <a:pt x="9" y="0"/>
                        <a:pt x="0" y="10"/>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72" name="Freeform 124">
                  <a:extLst>
                    <a:ext uri="{FF2B5EF4-FFF2-40B4-BE49-F238E27FC236}">
                      <a16:creationId xmlns:a16="http://schemas.microsoft.com/office/drawing/2014/main" id="{3EA549A5-0D66-B94E-AF7F-5020BE1780C0}"/>
                    </a:ext>
                  </a:extLst>
                </p:cNvPr>
                <p:cNvSpPr>
                  <a:spLocks/>
                </p:cNvSpPr>
                <p:nvPr/>
              </p:nvSpPr>
              <p:spPr bwMode="auto">
                <a:xfrm>
                  <a:off x="2387600" y="4946650"/>
                  <a:ext cx="84138" cy="176213"/>
                </a:xfrm>
                <a:custGeom>
                  <a:avLst/>
                  <a:gdLst>
                    <a:gd name="T0" fmla="*/ 41 w 41"/>
                    <a:gd name="T1" fmla="*/ 21 h 87"/>
                    <a:gd name="T2" fmla="*/ 41 w 41"/>
                    <a:gd name="T3" fmla="*/ 21 h 87"/>
                    <a:gd name="T4" fmla="*/ 20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10"/>
                        <a:pt x="32" y="0"/>
                        <a:pt x="20" y="0"/>
                      </a:cubicBezTo>
                      <a:cubicBezTo>
                        <a:pt x="9" y="0"/>
                        <a:pt x="0" y="10"/>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73" name="Freeform 125">
                  <a:extLst>
                    <a:ext uri="{FF2B5EF4-FFF2-40B4-BE49-F238E27FC236}">
                      <a16:creationId xmlns:a16="http://schemas.microsoft.com/office/drawing/2014/main" id="{0BE870A2-0A5B-1A45-A6FB-9891D091FA1E}"/>
                    </a:ext>
                  </a:extLst>
                </p:cNvPr>
                <p:cNvSpPr>
                  <a:spLocks/>
                </p:cNvSpPr>
                <p:nvPr/>
              </p:nvSpPr>
              <p:spPr bwMode="auto">
                <a:xfrm>
                  <a:off x="2501900" y="4946650"/>
                  <a:ext cx="82550" cy="176213"/>
                </a:xfrm>
                <a:custGeom>
                  <a:avLst/>
                  <a:gdLst>
                    <a:gd name="T0" fmla="*/ 41 w 41"/>
                    <a:gd name="T1" fmla="*/ 21 h 87"/>
                    <a:gd name="T2" fmla="*/ 41 w 41"/>
                    <a:gd name="T3" fmla="*/ 21 h 87"/>
                    <a:gd name="T4" fmla="*/ 21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10"/>
                        <a:pt x="32" y="0"/>
                        <a:pt x="21" y="0"/>
                      </a:cubicBezTo>
                      <a:cubicBezTo>
                        <a:pt x="9" y="0"/>
                        <a:pt x="0" y="10"/>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74" name="Freeform 126">
                  <a:extLst>
                    <a:ext uri="{FF2B5EF4-FFF2-40B4-BE49-F238E27FC236}">
                      <a16:creationId xmlns:a16="http://schemas.microsoft.com/office/drawing/2014/main" id="{0E4B92AA-D26C-3548-BC69-2B5FA36EA64B}"/>
                    </a:ext>
                  </a:extLst>
                </p:cNvPr>
                <p:cNvSpPr>
                  <a:spLocks/>
                </p:cNvSpPr>
                <p:nvPr/>
              </p:nvSpPr>
              <p:spPr bwMode="auto">
                <a:xfrm>
                  <a:off x="2160588" y="5162550"/>
                  <a:ext cx="84138" cy="176213"/>
                </a:xfrm>
                <a:custGeom>
                  <a:avLst/>
                  <a:gdLst>
                    <a:gd name="T0" fmla="*/ 42 w 42"/>
                    <a:gd name="T1" fmla="*/ 21 h 87"/>
                    <a:gd name="T2" fmla="*/ 42 w 42"/>
                    <a:gd name="T3" fmla="*/ 21 h 87"/>
                    <a:gd name="T4" fmla="*/ 21 w 42"/>
                    <a:gd name="T5" fmla="*/ 0 h 87"/>
                    <a:gd name="T6" fmla="*/ 0 w 42"/>
                    <a:gd name="T7" fmla="*/ 21 h 87"/>
                    <a:gd name="T8" fmla="*/ 1 w 42"/>
                    <a:gd name="T9" fmla="*/ 21 h 87"/>
                    <a:gd name="T10" fmla="*/ 0 w 42"/>
                    <a:gd name="T11" fmla="*/ 21 h 87"/>
                    <a:gd name="T12" fmla="*/ 0 w 42"/>
                    <a:gd name="T13" fmla="*/ 87 h 87"/>
                    <a:gd name="T14" fmla="*/ 42 w 42"/>
                    <a:gd name="T15" fmla="*/ 87 h 87"/>
                    <a:gd name="T16" fmla="*/ 42 w 42"/>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7">
                      <a:moveTo>
                        <a:pt x="42" y="21"/>
                      </a:moveTo>
                      <a:cubicBezTo>
                        <a:pt x="42" y="21"/>
                        <a:pt x="42" y="21"/>
                        <a:pt x="42" y="21"/>
                      </a:cubicBezTo>
                      <a:cubicBezTo>
                        <a:pt x="42" y="9"/>
                        <a:pt x="33" y="0"/>
                        <a:pt x="21" y="0"/>
                      </a:cubicBezTo>
                      <a:cubicBezTo>
                        <a:pt x="10" y="0"/>
                        <a:pt x="0" y="9"/>
                        <a:pt x="0" y="21"/>
                      </a:cubicBezTo>
                      <a:cubicBezTo>
                        <a:pt x="0" y="21"/>
                        <a:pt x="1" y="21"/>
                        <a:pt x="1" y="21"/>
                      </a:cubicBezTo>
                      <a:cubicBezTo>
                        <a:pt x="0" y="21"/>
                        <a:pt x="0" y="21"/>
                        <a:pt x="0" y="21"/>
                      </a:cubicBezTo>
                      <a:cubicBezTo>
                        <a:pt x="0" y="87"/>
                        <a:pt x="0" y="87"/>
                        <a:pt x="0" y="87"/>
                      </a:cubicBezTo>
                      <a:cubicBezTo>
                        <a:pt x="42" y="87"/>
                        <a:pt x="42" y="87"/>
                        <a:pt x="42" y="87"/>
                      </a:cubicBezTo>
                      <a:cubicBezTo>
                        <a:pt x="42" y="21"/>
                        <a:pt x="42" y="21"/>
                        <a:pt x="4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75" name="Freeform 127">
                  <a:extLst>
                    <a:ext uri="{FF2B5EF4-FFF2-40B4-BE49-F238E27FC236}">
                      <a16:creationId xmlns:a16="http://schemas.microsoft.com/office/drawing/2014/main" id="{CBE2EFA1-192F-5B4E-824D-7F00728D1165}"/>
                    </a:ext>
                  </a:extLst>
                </p:cNvPr>
                <p:cNvSpPr>
                  <a:spLocks/>
                </p:cNvSpPr>
                <p:nvPr/>
              </p:nvSpPr>
              <p:spPr bwMode="auto">
                <a:xfrm>
                  <a:off x="2274888" y="5162550"/>
                  <a:ext cx="82550" cy="176213"/>
                </a:xfrm>
                <a:custGeom>
                  <a:avLst/>
                  <a:gdLst>
                    <a:gd name="T0" fmla="*/ 41 w 41"/>
                    <a:gd name="T1" fmla="*/ 21 h 87"/>
                    <a:gd name="T2" fmla="*/ 41 w 41"/>
                    <a:gd name="T3" fmla="*/ 21 h 87"/>
                    <a:gd name="T4" fmla="*/ 20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9"/>
                        <a:pt x="32" y="0"/>
                        <a:pt x="20" y="0"/>
                      </a:cubicBezTo>
                      <a:cubicBezTo>
                        <a:pt x="9" y="0"/>
                        <a:pt x="0" y="9"/>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76" name="Freeform 128">
                  <a:extLst>
                    <a:ext uri="{FF2B5EF4-FFF2-40B4-BE49-F238E27FC236}">
                      <a16:creationId xmlns:a16="http://schemas.microsoft.com/office/drawing/2014/main" id="{C9BF12ED-CCF9-6F4D-8565-54F3D255BEE3}"/>
                    </a:ext>
                  </a:extLst>
                </p:cNvPr>
                <p:cNvSpPr>
                  <a:spLocks/>
                </p:cNvSpPr>
                <p:nvPr/>
              </p:nvSpPr>
              <p:spPr bwMode="auto">
                <a:xfrm>
                  <a:off x="2387600" y="5162550"/>
                  <a:ext cx="84138" cy="176213"/>
                </a:xfrm>
                <a:custGeom>
                  <a:avLst/>
                  <a:gdLst>
                    <a:gd name="T0" fmla="*/ 41 w 41"/>
                    <a:gd name="T1" fmla="*/ 21 h 87"/>
                    <a:gd name="T2" fmla="*/ 41 w 41"/>
                    <a:gd name="T3" fmla="*/ 21 h 87"/>
                    <a:gd name="T4" fmla="*/ 20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9"/>
                        <a:pt x="32" y="0"/>
                        <a:pt x="20" y="0"/>
                      </a:cubicBezTo>
                      <a:cubicBezTo>
                        <a:pt x="9" y="0"/>
                        <a:pt x="0" y="9"/>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77" name="Freeform 129">
                  <a:extLst>
                    <a:ext uri="{FF2B5EF4-FFF2-40B4-BE49-F238E27FC236}">
                      <a16:creationId xmlns:a16="http://schemas.microsoft.com/office/drawing/2014/main" id="{9919E901-3FAD-214F-9C36-6344903F4BD9}"/>
                    </a:ext>
                  </a:extLst>
                </p:cNvPr>
                <p:cNvSpPr>
                  <a:spLocks/>
                </p:cNvSpPr>
                <p:nvPr/>
              </p:nvSpPr>
              <p:spPr bwMode="auto">
                <a:xfrm>
                  <a:off x="2501900" y="5162550"/>
                  <a:ext cx="82550" cy="176213"/>
                </a:xfrm>
                <a:custGeom>
                  <a:avLst/>
                  <a:gdLst>
                    <a:gd name="T0" fmla="*/ 41 w 41"/>
                    <a:gd name="T1" fmla="*/ 21 h 87"/>
                    <a:gd name="T2" fmla="*/ 41 w 41"/>
                    <a:gd name="T3" fmla="*/ 21 h 87"/>
                    <a:gd name="T4" fmla="*/ 21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9"/>
                        <a:pt x="32" y="0"/>
                        <a:pt x="21" y="0"/>
                      </a:cubicBezTo>
                      <a:cubicBezTo>
                        <a:pt x="9" y="0"/>
                        <a:pt x="0" y="9"/>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grpSp>
          <p:nvGrpSpPr>
            <p:cNvPr id="143" name="Group 142">
              <a:extLst>
                <a:ext uri="{FF2B5EF4-FFF2-40B4-BE49-F238E27FC236}">
                  <a16:creationId xmlns:a16="http://schemas.microsoft.com/office/drawing/2014/main" id="{F7B2715E-DAA7-CC41-B016-65B155451E2B}"/>
                </a:ext>
              </a:extLst>
            </p:cNvPr>
            <p:cNvGrpSpPr/>
            <p:nvPr/>
          </p:nvGrpSpPr>
          <p:grpSpPr>
            <a:xfrm>
              <a:off x="1926450" y="3943841"/>
              <a:ext cx="427435" cy="806054"/>
              <a:chOff x="5097463" y="3746500"/>
              <a:chExt cx="569913" cy="1074738"/>
            </a:xfrm>
          </p:grpSpPr>
          <p:sp>
            <p:nvSpPr>
              <p:cNvPr id="249" name="Rectangle 130">
                <a:extLst>
                  <a:ext uri="{FF2B5EF4-FFF2-40B4-BE49-F238E27FC236}">
                    <a16:creationId xmlns:a16="http://schemas.microsoft.com/office/drawing/2014/main" id="{DAB6316C-FBFD-6F48-B4BD-193450022451}"/>
                  </a:ext>
                </a:extLst>
              </p:cNvPr>
              <p:cNvSpPr>
                <a:spLocks noChangeArrowheads="1"/>
              </p:cNvSpPr>
              <p:nvPr/>
            </p:nvSpPr>
            <p:spPr bwMode="auto">
              <a:xfrm>
                <a:off x="5097463" y="3746500"/>
                <a:ext cx="569913" cy="1074738"/>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0" name="Rectangle 131">
                <a:extLst>
                  <a:ext uri="{FF2B5EF4-FFF2-40B4-BE49-F238E27FC236}">
                    <a16:creationId xmlns:a16="http://schemas.microsoft.com/office/drawing/2014/main" id="{B89E7BAB-EB35-0E43-BE51-56C8552158FA}"/>
                  </a:ext>
                </a:extLst>
              </p:cNvPr>
              <p:cNvSpPr>
                <a:spLocks noChangeArrowheads="1"/>
              </p:cNvSpPr>
              <p:nvPr/>
            </p:nvSpPr>
            <p:spPr bwMode="auto">
              <a:xfrm>
                <a:off x="5191125" y="3875088"/>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1" name="Rectangle 132">
                <a:extLst>
                  <a:ext uri="{FF2B5EF4-FFF2-40B4-BE49-F238E27FC236}">
                    <a16:creationId xmlns:a16="http://schemas.microsoft.com/office/drawing/2014/main" id="{DABE4C8F-D7AA-A64F-AAE1-9B0D6D81A605}"/>
                  </a:ext>
                </a:extLst>
              </p:cNvPr>
              <p:cNvSpPr>
                <a:spLocks noChangeArrowheads="1"/>
              </p:cNvSpPr>
              <p:nvPr/>
            </p:nvSpPr>
            <p:spPr bwMode="auto">
              <a:xfrm>
                <a:off x="5326063" y="3875088"/>
                <a:ext cx="112713"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2" name="Rectangle 133">
                <a:extLst>
                  <a:ext uri="{FF2B5EF4-FFF2-40B4-BE49-F238E27FC236}">
                    <a16:creationId xmlns:a16="http://schemas.microsoft.com/office/drawing/2014/main" id="{B9F58AF9-94E5-944D-B553-5D178394F63F}"/>
                  </a:ext>
                </a:extLst>
              </p:cNvPr>
              <p:cNvSpPr>
                <a:spLocks noChangeArrowheads="1"/>
              </p:cNvSpPr>
              <p:nvPr/>
            </p:nvSpPr>
            <p:spPr bwMode="auto">
              <a:xfrm>
                <a:off x="5459413" y="3875088"/>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3" name="Rectangle 134">
                <a:extLst>
                  <a:ext uri="{FF2B5EF4-FFF2-40B4-BE49-F238E27FC236}">
                    <a16:creationId xmlns:a16="http://schemas.microsoft.com/office/drawing/2014/main" id="{B3A32EB0-8AEF-0E48-B734-2FC790FFEEDA}"/>
                  </a:ext>
                </a:extLst>
              </p:cNvPr>
              <p:cNvSpPr>
                <a:spLocks noChangeArrowheads="1"/>
              </p:cNvSpPr>
              <p:nvPr/>
            </p:nvSpPr>
            <p:spPr bwMode="auto">
              <a:xfrm>
                <a:off x="5191125" y="3976688"/>
                <a:ext cx="114300"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4" name="Rectangle 135">
                <a:extLst>
                  <a:ext uri="{FF2B5EF4-FFF2-40B4-BE49-F238E27FC236}">
                    <a16:creationId xmlns:a16="http://schemas.microsoft.com/office/drawing/2014/main" id="{C909F06B-81A1-8F4C-B528-A110DDAD4E07}"/>
                  </a:ext>
                </a:extLst>
              </p:cNvPr>
              <p:cNvSpPr>
                <a:spLocks noChangeArrowheads="1"/>
              </p:cNvSpPr>
              <p:nvPr/>
            </p:nvSpPr>
            <p:spPr bwMode="auto">
              <a:xfrm>
                <a:off x="5326063" y="3976688"/>
                <a:ext cx="112713"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5" name="Rectangle 136">
                <a:extLst>
                  <a:ext uri="{FF2B5EF4-FFF2-40B4-BE49-F238E27FC236}">
                    <a16:creationId xmlns:a16="http://schemas.microsoft.com/office/drawing/2014/main" id="{105F9A17-F324-ED47-8ADF-721C35E01526}"/>
                  </a:ext>
                </a:extLst>
              </p:cNvPr>
              <p:cNvSpPr>
                <a:spLocks noChangeArrowheads="1"/>
              </p:cNvSpPr>
              <p:nvPr/>
            </p:nvSpPr>
            <p:spPr bwMode="auto">
              <a:xfrm>
                <a:off x="5459413" y="3976688"/>
                <a:ext cx="114300"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6" name="Rectangle 137">
                <a:extLst>
                  <a:ext uri="{FF2B5EF4-FFF2-40B4-BE49-F238E27FC236}">
                    <a16:creationId xmlns:a16="http://schemas.microsoft.com/office/drawing/2014/main" id="{105AB6DD-DB79-F34B-8FAC-626C81CC9619}"/>
                  </a:ext>
                </a:extLst>
              </p:cNvPr>
              <p:cNvSpPr>
                <a:spLocks noChangeArrowheads="1"/>
              </p:cNvSpPr>
              <p:nvPr/>
            </p:nvSpPr>
            <p:spPr bwMode="auto">
              <a:xfrm>
                <a:off x="5191125" y="4078288"/>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7" name="Rectangle 138">
                <a:extLst>
                  <a:ext uri="{FF2B5EF4-FFF2-40B4-BE49-F238E27FC236}">
                    <a16:creationId xmlns:a16="http://schemas.microsoft.com/office/drawing/2014/main" id="{AC3EAB98-7ED9-CC47-B4AF-C60F8BF5141B}"/>
                  </a:ext>
                </a:extLst>
              </p:cNvPr>
              <p:cNvSpPr>
                <a:spLocks noChangeArrowheads="1"/>
              </p:cNvSpPr>
              <p:nvPr/>
            </p:nvSpPr>
            <p:spPr bwMode="auto">
              <a:xfrm>
                <a:off x="5326063" y="4078288"/>
                <a:ext cx="112713"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8" name="Rectangle 139">
                <a:extLst>
                  <a:ext uri="{FF2B5EF4-FFF2-40B4-BE49-F238E27FC236}">
                    <a16:creationId xmlns:a16="http://schemas.microsoft.com/office/drawing/2014/main" id="{508DAFE4-8D9F-E945-9AB7-CF3F230E1376}"/>
                  </a:ext>
                </a:extLst>
              </p:cNvPr>
              <p:cNvSpPr>
                <a:spLocks noChangeArrowheads="1"/>
              </p:cNvSpPr>
              <p:nvPr/>
            </p:nvSpPr>
            <p:spPr bwMode="auto">
              <a:xfrm>
                <a:off x="5459413" y="4078288"/>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59" name="Rectangle 140">
                <a:extLst>
                  <a:ext uri="{FF2B5EF4-FFF2-40B4-BE49-F238E27FC236}">
                    <a16:creationId xmlns:a16="http://schemas.microsoft.com/office/drawing/2014/main" id="{766F2B24-6532-D74F-8708-12CF82E05334}"/>
                  </a:ext>
                </a:extLst>
              </p:cNvPr>
              <p:cNvSpPr>
                <a:spLocks noChangeArrowheads="1"/>
              </p:cNvSpPr>
              <p:nvPr/>
            </p:nvSpPr>
            <p:spPr bwMode="auto">
              <a:xfrm>
                <a:off x="5191125" y="4181475"/>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60" name="Rectangle 141">
                <a:extLst>
                  <a:ext uri="{FF2B5EF4-FFF2-40B4-BE49-F238E27FC236}">
                    <a16:creationId xmlns:a16="http://schemas.microsoft.com/office/drawing/2014/main" id="{8F9579B1-4B9D-BE4F-973F-A496304262AE}"/>
                  </a:ext>
                </a:extLst>
              </p:cNvPr>
              <p:cNvSpPr>
                <a:spLocks noChangeArrowheads="1"/>
              </p:cNvSpPr>
              <p:nvPr/>
            </p:nvSpPr>
            <p:spPr bwMode="auto">
              <a:xfrm>
                <a:off x="5326063" y="4181475"/>
                <a:ext cx="112713"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61" name="Rectangle 142">
                <a:extLst>
                  <a:ext uri="{FF2B5EF4-FFF2-40B4-BE49-F238E27FC236}">
                    <a16:creationId xmlns:a16="http://schemas.microsoft.com/office/drawing/2014/main" id="{232EAF1E-BC94-DA4D-98C4-F04B704FAD78}"/>
                  </a:ext>
                </a:extLst>
              </p:cNvPr>
              <p:cNvSpPr>
                <a:spLocks noChangeArrowheads="1"/>
              </p:cNvSpPr>
              <p:nvPr/>
            </p:nvSpPr>
            <p:spPr bwMode="auto">
              <a:xfrm>
                <a:off x="5459413" y="4181475"/>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62" name="Rectangle 143">
                <a:extLst>
                  <a:ext uri="{FF2B5EF4-FFF2-40B4-BE49-F238E27FC236}">
                    <a16:creationId xmlns:a16="http://schemas.microsoft.com/office/drawing/2014/main" id="{C7FF9395-6A55-4048-A651-1E01615EAFFB}"/>
                  </a:ext>
                </a:extLst>
              </p:cNvPr>
              <p:cNvSpPr>
                <a:spLocks noChangeArrowheads="1"/>
              </p:cNvSpPr>
              <p:nvPr/>
            </p:nvSpPr>
            <p:spPr bwMode="auto">
              <a:xfrm>
                <a:off x="5191125" y="4283075"/>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63" name="Rectangle 144">
                <a:extLst>
                  <a:ext uri="{FF2B5EF4-FFF2-40B4-BE49-F238E27FC236}">
                    <a16:creationId xmlns:a16="http://schemas.microsoft.com/office/drawing/2014/main" id="{C60EE14C-A5B6-DC49-A55B-68704E37C6F7}"/>
                  </a:ext>
                </a:extLst>
              </p:cNvPr>
              <p:cNvSpPr>
                <a:spLocks noChangeArrowheads="1"/>
              </p:cNvSpPr>
              <p:nvPr/>
            </p:nvSpPr>
            <p:spPr bwMode="auto">
              <a:xfrm>
                <a:off x="5326063" y="4283075"/>
                <a:ext cx="112713"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64" name="Rectangle 145">
                <a:extLst>
                  <a:ext uri="{FF2B5EF4-FFF2-40B4-BE49-F238E27FC236}">
                    <a16:creationId xmlns:a16="http://schemas.microsoft.com/office/drawing/2014/main" id="{C70A963D-04C0-E140-B2DE-86E6E4A0AC47}"/>
                  </a:ext>
                </a:extLst>
              </p:cNvPr>
              <p:cNvSpPr>
                <a:spLocks noChangeArrowheads="1"/>
              </p:cNvSpPr>
              <p:nvPr/>
            </p:nvSpPr>
            <p:spPr bwMode="auto">
              <a:xfrm>
                <a:off x="5459413" y="4283075"/>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65" name="Rectangle 146">
                <a:extLst>
                  <a:ext uri="{FF2B5EF4-FFF2-40B4-BE49-F238E27FC236}">
                    <a16:creationId xmlns:a16="http://schemas.microsoft.com/office/drawing/2014/main" id="{4ED302EC-589C-904E-A8B1-AF92104D9C53}"/>
                  </a:ext>
                </a:extLst>
              </p:cNvPr>
              <p:cNvSpPr>
                <a:spLocks noChangeArrowheads="1"/>
              </p:cNvSpPr>
              <p:nvPr/>
            </p:nvSpPr>
            <p:spPr bwMode="auto">
              <a:xfrm>
                <a:off x="5191125" y="4386263"/>
                <a:ext cx="114300"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66" name="Rectangle 147">
                <a:extLst>
                  <a:ext uri="{FF2B5EF4-FFF2-40B4-BE49-F238E27FC236}">
                    <a16:creationId xmlns:a16="http://schemas.microsoft.com/office/drawing/2014/main" id="{FDBA13D0-4E05-2241-9ED9-6BE2F852B083}"/>
                  </a:ext>
                </a:extLst>
              </p:cNvPr>
              <p:cNvSpPr>
                <a:spLocks noChangeArrowheads="1"/>
              </p:cNvSpPr>
              <p:nvPr/>
            </p:nvSpPr>
            <p:spPr bwMode="auto">
              <a:xfrm>
                <a:off x="5326063" y="4386263"/>
                <a:ext cx="112713"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67" name="Rectangle 148">
                <a:extLst>
                  <a:ext uri="{FF2B5EF4-FFF2-40B4-BE49-F238E27FC236}">
                    <a16:creationId xmlns:a16="http://schemas.microsoft.com/office/drawing/2014/main" id="{3D372709-3FF0-184D-BF0F-3CA603767623}"/>
                  </a:ext>
                </a:extLst>
              </p:cNvPr>
              <p:cNvSpPr>
                <a:spLocks noChangeArrowheads="1"/>
              </p:cNvSpPr>
              <p:nvPr/>
            </p:nvSpPr>
            <p:spPr bwMode="auto">
              <a:xfrm>
                <a:off x="5459413" y="4386263"/>
                <a:ext cx="114300"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44" name="Group 143">
              <a:extLst>
                <a:ext uri="{FF2B5EF4-FFF2-40B4-BE49-F238E27FC236}">
                  <a16:creationId xmlns:a16="http://schemas.microsoft.com/office/drawing/2014/main" id="{27C343E8-5A3B-0946-8E7A-370C7195F06A}"/>
                </a:ext>
              </a:extLst>
            </p:cNvPr>
            <p:cNvGrpSpPr/>
            <p:nvPr/>
          </p:nvGrpSpPr>
          <p:grpSpPr>
            <a:xfrm>
              <a:off x="1124539" y="3941461"/>
              <a:ext cx="427435" cy="808435"/>
              <a:chOff x="327025" y="3622675"/>
              <a:chExt cx="569913" cy="1077913"/>
            </a:xfrm>
          </p:grpSpPr>
          <p:sp>
            <p:nvSpPr>
              <p:cNvPr id="244" name="Freeform 149">
                <a:extLst>
                  <a:ext uri="{FF2B5EF4-FFF2-40B4-BE49-F238E27FC236}">
                    <a16:creationId xmlns:a16="http://schemas.microsoft.com/office/drawing/2014/main" id="{4B9BB0B0-5A60-384F-8D11-5EEDA7D1BA48}"/>
                  </a:ext>
                </a:extLst>
              </p:cNvPr>
              <p:cNvSpPr>
                <a:spLocks/>
              </p:cNvSpPr>
              <p:nvPr/>
            </p:nvSpPr>
            <p:spPr bwMode="auto">
              <a:xfrm>
                <a:off x="327025" y="3622675"/>
                <a:ext cx="569913" cy="1077913"/>
              </a:xfrm>
              <a:custGeom>
                <a:avLst/>
                <a:gdLst>
                  <a:gd name="T0" fmla="*/ 359 w 359"/>
                  <a:gd name="T1" fmla="*/ 679 h 679"/>
                  <a:gd name="T2" fmla="*/ 0 w 359"/>
                  <a:gd name="T3" fmla="*/ 679 h 679"/>
                  <a:gd name="T4" fmla="*/ 0 w 359"/>
                  <a:gd name="T5" fmla="*/ 242 h 679"/>
                  <a:gd name="T6" fmla="*/ 179 w 359"/>
                  <a:gd name="T7" fmla="*/ 0 h 679"/>
                  <a:gd name="T8" fmla="*/ 359 w 359"/>
                  <a:gd name="T9" fmla="*/ 242 h 679"/>
                  <a:gd name="T10" fmla="*/ 359 w 359"/>
                  <a:gd name="T11" fmla="*/ 679 h 679"/>
                </a:gdLst>
                <a:ahLst/>
                <a:cxnLst>
                  <a:cxn ang="0">
                    <a:pos x="T0" y="T1"/>
                  </a:cxn>
                  <a:cxn ang="0">
                    <a:pos x="T2" y="T3"/>
                  </a:cxn>
                  <a:cxn ang="0">
                    <a:pos x="T4" y="T5"/>
                  </a:cxn>
                  <a:cxn ang="0">
                    <a:pos x="T6" y="T7"/>
                  </a:cxn>
                  <a:cxn ang="0">
                    <a:pos x="T8" y="T9"/>
                  </a:cxn>
                  <a:cxn ang="0">
                    <a:pos x="T10" y="T11"/>
                  </a:cxn>
                </a:cxnLst>
                <a:rect l="0" t="0" r="r" b="b"/>
                <a:pathLst>
                  <a:path w="359" h="679">
                    <a:moveTo>
                      <a:pt x="359" y="679"/>
                    </a:moveTo>
                    <a:lnTo>
                      <a:pt x="0" y="679"/>
                    </a:lnTo>
                    <a:lnTo>
                      <a:pt x="0" y="242"/>
                    </a:lnTo>
                    <a:lnTo>
                      <a:pt x="179" y="0"/>
                    </a:lnTo>
                    <a:lnTo>
                      <a:pt x="359" y="242"/>
                    </a:lnTo>
                    <a:lnTo>
                      <a:pt x="359" y="679"/>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45" name="Rectangle 150">
                <a:extLst>
                  <a:ext uri="{FF2B5EF4-FFF2-40B4-BE49-F238E27FC236}">
                    <a16:creationId xmlns:a16="http://schemas.microsoft.com/office/drawing/2014/main" id="{6E6C1682-E692-0D43-8EF9-13D8C11677E5}"/>
                  </a:ext>
                </a:extLst>
              </p:cNvPr>
              <p:cNvSpPr>
                <a:spLocks noChangeArrowheads="1"/>
              </p:cNvSpPr>
              <p:nvPr/>
            </p:nvSpPr>
            <p:spPr bwMode="auto">
              <a:xfrm>
                <a:off x="503238" y="3911600"/>
                <a:ext cx="76200" cy="166688"/>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46" name="Rectangle 151">
                <a:extLst>
                  <a:ext uri="{FF2B5EF4-FFF2-40B4-BE49-F238E27FC236}">
                    <a16:creationId xmlns:a16="http://schemas.microsoft.com/office/drawing/2014/main" id="{F72F7388-1DDC-E640-88D3-2ECA6F8A8963}"/>
                  </a:ext>
                </a:extLst>
              </p:cNvPr>
              <p:cNvSpPr>
                <a:spLocks noChangeArrowheads="1"/>
              </p:cNvSpPr>
              <p:nvPr/>
            </p:nvSpPr>
            <p:spPr bwMode="auto">
              <a:xfrm>
                <a:off x="622300" y="3911600"/>
                <a:ext cx="76200" cy="166688"/>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47" name="Rectangle 152">
                <a:extLst>
                  <a:ext uri="{FF2B5EF4-FFF2-40B4-BE49-F238E27FC236}">
                    <a16:creationId xmlns:a16="http://schemas.microsoft.com/office/drawing/2014/main" id="{CB4D4532-1CE3-3A4D-B40B-6145375D9859}"/>
                  </a:ext>
                </a:extLst>
              </p:cNvPr>
              <p:cNvSpPr>
                <a:spLocks noChangeArrowheads="1"/>
              </p:cNvSpPr>
              <p:nvPr/>
            </p:nvSpPr>
            <p:spPr bwMode="auto">
              <a:xfrm>
                <a:off x="503238" y="4133850"/>
                <a:ext cx="76200" cy="166688"/>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48" name="Rectangle 153">
                <a:extLst>
                  <a:ext uri="{FF2B5EF4-FFF2-40B4-BE49-F238E27FC236}">
                    <a16:creationId xmlns:a16="http://schemas.microsoft.com/office/drawing/2014/main" id="{26DBD849-7154-8140-9437-93E6D5C279FF}"/>
                  </a:ext>
                </a:extLst>
              </p:cNvPr>
              <p:cNvSpPr>
                <a:spLocks noChangeArrowheads="1"/>
              </p:cNvSpPr>
              <p:nvPr/>
            </p:nvSpPr>
            <p:spPr bwMode="auto">
              <a:xfrm>
                <a:off x="622300" y="4133850"/>
                <a:ext cx="76200" cy="166688"/>
              </a:xfrm>
              <a:prstGeom prst="rect">
                <a:avLst/>
              </a:pr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45" name="Group 144">
              <a:extLst>
                <a:ext uri="{FF2B5EF4-FFF2-40B4-BE49-F238E27FC236}">
                  <a16:creationId xmlns:a16="http://schemas.microsoft.com/office/drawing/2014/main" id="{E4D876A0-B2EA-8C44-9E8D-DF48B0823660}"/>
                </a:ext>
              </a:extLst>
            </p:cNvPr>
            <p:cNvGrpSpPr/>
            <p:nvPr/>
          </p:nvGrpSpPr>
          <p:grpSpPr>
            <a:xfrm>
              <a:off x="1516850" y="3925982"/>
              <a:ext cx="427435" cy="823913"/>
              <a:chOff x="3167063" y="3602038"/>
              <a:chExt cx="569913" cy="1098550"/>
            </a:xfrm>
          </p:grpSpPr>
          <p:sp>
            <p:nvSpPr>
              <p:cNvPr id="231" name="Freeform 154">
                <a:extLst>
                  <a:ext uri="{FF2B5EF4-FFF2-40B4-BE49-F238E27FC236}">
                    <a16:creationId xmlns:a16="http://schemas.microsoft.com/office/drawing/2014/main" id="{DA9A3632-4B1C-6245-BE27-CD349E466C41}"/>
                  </a:ext>
                </a:extLst>
              </p:cNvPr>
              <p:cNvSpPr>
                <a:spLocks/>
              </p:cNvSpPr>
              <p:nvPr/>
            </p:nvSpPr>
            <p:spPr bwMode="auto">
              <a:xfrm>
                <a:off x="3167063" y="3602038"/>
                <a:ext cx="569913" cy="1098550"/>
              </a:xfrm>
              <a:custGeom>
                <a:avLst/>
                <a:gdLst>
                  <a:gd name="T0" fmla="*/ 307 w 359"/>
                  <a:gd name="T1" fmla="*/ 134 h 692"/>
                  <a:gd name="T2" fmla="*/ 307 w 359"/>
                  <a:gd name="T3" fmla="*/ 63 h 692"/>
                  <a:gd name="T4" fmla="*/ 275 w 359"/>
                  <a:gd name="T5" fmla="*/ 63 h 692"/>
                  <a:gd name="T6" fmla="*/ 275 w 359"/>
                  <a:gd name="T7" fmla="*/ 0 h 692"/>
                  <a:gd name="T8" fmla="*/ 66 w 359"/>
                  <a:gd name="T9" fmla="*/ 0 h 692"/>
                  <a:gd name="T10" fmla="*/ 66 w 359"/>
                  <a:gd name="T11" fmla="*/ 63 h 692"/>
                  <a:gd name="T12" fmla="*/ 33 w 359"/>
                  <a:gd name="T13" fmla="*/ 63 h 692"/>
                  <a:gd name="T14" fmla="*/ 33 w 359"/>
                  <a:gd name="T15" fmla="*/ 134 h 692"/>
                  <a:gd name="T16" fmla="*/ 0 w 359"/>
                  <a:gd name="T17" fmla="*/ 134 h 692"/>
                  <a:gd name="T18" fmla="*/ 0 w 359"/>
                  <a:gd name="T19" fmla="*/ 692 h 692"/>
                  <a:gd name="T20" fmla="*/ 359 w 359"/>
                  <a:gd name="T21" fmla="*/ 692 h 692"/>
                  <a:gd name="T22" fmla="*/ 359 w 359"/>
                  <a:gd name="T23" fmla="*/ 134 h 692"/>
                  <a:gd name="T24" fmla="*/ 307 w 359"/>
                  <a:gd name="T25" fmla="*/ 134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9" h="692">
                    <a:moveTo>
                      <a:pt x="307" y="134"/>
                    </a:moveTo>
                    <a:lnTo>
                      <a:pt x="307" y="63"/>
                    </a:lnTo>
                    <a:lnTo>
                      <a:pt x="275" y="63"/>
                    </a:lnTo>
                    <a:lnTo>
                      <a:pt x="275" y="0"/>
                    </a:lnTo>
                    <a:lnTo>
                      <a:pt x="66" y="0"/>
                    </a:lnTo>
                    <a:lnTo>
                      <a:pt x="66" y="63"/>
                    </a:lnTo>
                    <a:lnTo>
                      <a:pt x="33" y="63"/>
                    </a:lnTo>
                    <a:lnTo>
                      <a:pt x="33" y="134"/>
                    </a:lnTo>
                    <a:lnTo>
                      <a:pt x="0" y="134"/>
                    </a:lnTo>
                    <a:lnTo>
                      <a:pt x="0" y="692"/>
                    </a:lnTo>
                    <a:lnTo>
                      <a:pt x="359" y="692"/>
                    </a:lnTo>
                    <a:lnTo>
                      <a:pt x="359" y="134"/>
                    </a:lnTo>
                    <a:lnTo>
                      <a:pt x="307" y="134"/>
                    </a:lnTo>
                    <a:close/>
                  </a:path>
                </a:pathLst>
              </a:custGeom>
              <a:solidFill>
                <a:srgbClr val="6ABFA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32" name="Rectangle 155">
                <a:extLst>
                  <a:ext uri="{FF2B5EF4-FFF2-40B4-BE49-F238E27FC236}">
                    <a16:creationId xmlns:a16="http://schemas.microsoft.com/office/drawing/2014/main" id="{19802C00-1A12-A848-88CE-30620328554D}"/>
                  </a:ext>
                </a:extLst>
              </p:cNvPr>
              <p:cNvSpPr>
                <a:spLocks noChangeArrowheads="1"/>
              </p:cNvSpPr>
              <p:nvPr/>
            </p:nvSpPr>
            <p:spPr bwMode="auto">
              <a:xfrm>
                <a:off x="3267075" y="3881438"/>
                <a:ext cx="55563" cy="131763"/>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33" name="Rectangle 156">
                <a:extLst>
                  <a:ext uri="{FF2B5EF4-FFF2-40B4-BE49-F238E27FC236}">
                    <a16:creationId xmlns:a16="http://schemas.microsoft.com/office/drawing/2014/main" id="{2970D75D-EBB7-D448-9559-89331807792F}"/>
                  </a:ext>
                </a:extLst>
              </p:cNvPr>
              <p:cNvSpPr>
                <a:spLocks noChangeArrowheads="1"/>
              </p:cNvSpPr>
              <p:nvPr/>
            </p:nvSpPr>
            <p:spPr bwMode="auto">
              <a:xfrm>
                <a:off x="3371850" y="3881438"/>
                <a:ext cx="55563" cy="131763"/>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34" name="Rectangle 157">
                <a:extLst>
                  <a:ext uri="{FF2B5EF4-FFF2-40B4-BE49-F238E27FC236}">
                    <a16:creationId xmlns:a16="http://schemas.microsoft.com/office/drawing/2014/main" id="{F5F10774-4CBC-B847-BC92-C227399E36CE}"/>
                  </a:ext>
                </a:extLst>
              </p:cNvPr>
              <p:cNvSpPr>
                <a:spLocks noChangeArrowheads="1"/>
              </p:cNvSpPr>
              <p:nvPr/>
            </p:nvSpPr>
            <p:spPr bwMode="auto">
              <a:xfrm>
                <a:off x="3476625" y="3881438"/>
                <a:ext cx="55563" cy="131763"/>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35" name="Rectangle 158">
                <a:extLst>
                  <a:ext uri="{FF2B5EF4-FFF2-40B4-BE49-F238E27FC236}">
                    <a16:creationId xmlns:a16="http://schemas.microsoft.com/office/drawing/2014/main" id="{3F68B969-ABE6-CB46-AF6F-6B65EFA87430}"/>
                  </a:ext>
                </a:extLst>
              </p:cNvPr>
              <p:cNvSpPr>
                <a:spLocks noChangeArrowheads="1"/>
              </p:cNvSpPr>
              <p:nvPr/>
            </p:nvSpPr>
            <p:spPr bwMode="auto">
              <a:xfrm>
                <a:off x="3582988" y="3881438"/>
                <a:ext cx="57150" cy="131763"/>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36" name="Rectangle 159">
                <a:extLst>
                  <a:ext uri="{FF2B5EF4-FFF2-40B4-BE49-F238E27FC236}">
                    <a16:creationId xmlns:a16="http://schemas.microsoft.com/office/drawing/2014/main" id="{518099B5-DFF0-DB4E-B557-884FB8C5C41E}"/>
                  </a:ext>
                </a:extLst>
              </p:cNvPr>
              <p:cNvSpPr>
                <a:spLocks noChangeArrowheads="1"/>
              </p:cNvSpPr>
              <p:nvPr/>
            </p:nvSpPr>
            <p:spPr bwMode="auto">
              <a:xfrm>
                <a:off x="3267075" y="4062413"/>
                <a:ext cx="55563" cy="13335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37" name="Rectangle 160">
                <a:extLst>
                  <a:ext uri="{FF2B5EF4-FFF2-40B4-BE49-F238E27FC236}">
                    <a16:creationId xmlns:a16="http://schemas.microsoft.com/office/drawing/2014/main" id="{F44D8400-AE3A-424D-802A-E9BE6C15EA87}"/>
                  </a:ext>
                </a:extLst>
              </p:cNvPr>
              <p:cNvSpPr>
                <a:spLocks noChangeArrowheads="1"/>
              </p:cNvSpPr>
              <p:nvPr/>
            </p:nvSpPr>
            <p:spPr bwMode="auto">
              <a:xfrm>
                <a:off x="3371850" y="4062413"/>
                <a:ext cx="55563" cy="13335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38" name="Rectangle 161">
                <a:extLst>
                  <a:ext uri="{FF2B5EF4-FFF2-40B4-BE49-F238E27FC236}">
                    <a16:creationId xmlns:a16="http://schemas.microsoft.com/office/drawing/2014/main" id="{F6DC61B8-5708-3B45-8F86-35C0A32AA7BD}"/>
                  </a:ext>
                </a:extLst>
              </p:cNvPr>
              <p:cNvSpPr>
                <a:spLocks noChangeArrowheads="1"/>
              </p:cNvSpPr>
              <p:nvPr/>
            </p:nvSpPr>
            <p:spPr bwMode="auto">
              <a:xfrm>
                <a:off x="3476625" y="4062413"/>
                <a:ext cx="55563" cy="13335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39" name="Rectangle 162">
                <a:extLst>
                  <a:ext uri="{FF2B5EF4-FFF2-40B4-BE49-F238E27FC236}">
                    <a16:creationId xmlns:a16="http://schemas.microsoft.com/office/drawing/2014/main" id="{2FDB65EF-4A8B-7346-A26D-9CEBD06549D9}"/>
                  </a:ext>
                </a:extLst>
              </p:cNvPr>
              <p:cNvSpPr>
                <a:spLocks noChangeArrowheads="1"/>
              </p:cNvSpPr>
              <p:nvPr/>
            </p:nvSpPr>
            <p:spPr bwMode="auto">
              <a:xfrm>
                <a:off x="3582988" y="4062413"/>
                <a:ext cx="57150" cy="13335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40" name="Rectangle 163">
                <a:extLst>
                  <a:ext uri="{FF2B5EF4-FFF2-40B4-BE49-F238E27FC236}">
                    <a16:creationId xmlns:a16="http://schemas.microsoft.com/office/drawing/2014/main" id="{5B1ED0B1-D93F-EA40-8EFE-132D643E438B}"/>
                  </a:ext>
                </a:extLst>
              </p:cNvPr>
              <p:cNvSpPr>
                <a:spLocks noChangeArrowheads="1"/>
              </p:cNvSpPr>
              <p:nvPr/>
            </p:nvSpPr>
            <p:spPr bwMode="auto">
              <a:xfrm>
                <a:off x="3267075" y="4244975"/>
                <a:ext cx="55563" cy="13335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41" name="Rectangle 164">
                <a:extLst>
                  <a:ext uri="{FF2B5EF4-FFF2-40B4-BE49-F238E27FC236}">
                    <a16:creationId xmlns:a16="http://schemas.microsoft.com/office/drawing/2014/main" id="{FAD84175-1D04-5446-BAC0-E0526CCC4B15}"/>
                  </a:ext>
                </a:extLst>
              </p:cNvPr>
              <p:cNvSpPr>
                <a:spLocks noChangeArrowheads="1"/>
              </p:cNvSpPr>
              <p:nvPr/>
            </p:nvSpPr>
            <p:spPr bwMode="auto">
              <a:xfrm>
                <a:off x="3371850" y="4244975"/>
                <a:ext cx="55563" cy="13335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42" name="Rectangle 165">
                <a:extLst>
                  <a:ext uri="{FF2B5EF4-FFF2-40B4-BE49-F238E27FC236}">
                    <a16:creationId xmlns:a16="http://schemas.microsoft.com/office/drawing/2014/main" id="{5F1F7B92-6EAD-3443-A929-6909768A15A0}"/>
                  </a:ext>
                </a:extLst>
              </p:cNvPr>
              <p:cNvSpPr>
                <a:spLocks noChangeArrowheads="1"/>
              </p:cNvSpPr>
              <p:nvPr/>
            </p:nvSpPr>
            <p:spPr bwMode="auto">
              <a:xfrm>
                <a:off x="3476625" y="4244975"/>
                <a:ext cx="55563" cy="13335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43" name="Rectangle 166">
                <a:extLst>
                  <a:ext uri="{FF2B5EF4-FFF2-40B4-BE49-F238E27FC236}">
                    <a16:creationId xmlns:a16="http://schemas.microsoft.com/office/drawing/2014/main" id="{B50F5E74-ACA9-2E4C-A194-3D61A300A8AE}"/>
                  </a:ext>
                </a:extLst>
              </p:cNvPr>
              <p:cNvSpPr>
                <a:spLocks noChangeArrowheads="1"/>
              </p:cNvSpPr>
              <p:nvPr/>
            </p:nvSpPr>
            <p:spPr bwMode="auto">
              <a:xfrm>
                <a:off x="3582988" y="4244975"/>
                <a:ext cx="57150" cy="133350"/>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pic>
          <p:nvPicPr>
            <p:cNvPr id="146" name="Picture 145">
              <a:extLst>
                <a:ext uri="{FF2B5EF4-FFF2-40B4-BE49-F238E27FC236}">
                  <a16:creationId xmlns:a16="http://schemas.microsoft.com/office/drawing/2014/main" id="{54A37918-2577-AD40-A01E-4B65A73ADFAD}"/>
                </a:ext>
              </a:extLst>
            </p:cNvPr>
            <p:cNvPicPr>
              <a:picLocks noChangeAspect="1"/>
            </p:cNvPicPr>
            <p:nvPr/>
          </p:nvPicPr>
          <p:blipFill>
            <a:blip r:embed="rId3"/>
            <a:stretch>
              <a:fillRect/>
            </a:stretch>
          </p:blipFill>
          <p:spPr>
            <a:xfrm>
              <a:off x="260958" y="4069289"/>
              <a:ext cx="324401" cy="680606"/>
            </a:xfrm>
            <a:prstGeom prst="rect">
              <a:avLst/>
            </a:prstGeom>
          </p:spPr>
        </p:pic>
        <p:pic>
          <p:nvPicPr>
            <p:cNvPr id="147" name="Picture 146">
              <a:extLst>
                <a:ext uri="{FF2B5EF4-FFF2-40B4-BE49-F238E27FC236}">
                  <a16:creationId xmlns:a16="http://schemas.microsoft.com/office/drawing/2014/main" id="{FAB8A453-CC90-6D46-AF83-78B1EBD7FD3A}"/>
                </a:ext>
              </a:extLst>
            </p:cNvPr>
            <p:cNvPicPr>
              <a:picLocks noChangeAspect="1"/>
            </p:cNvPicPr>
            <p:nvPr/>
          </p:nvPicPr>
          <p:blipFill>
            <a:blip r:embed="rId3"/>
            <a:stretch>
              <a:fillRect/>
            </a:stretch>
          </p:blipFill>
          <p:spPr>
            <a:xfrm>
              <a:off x="60925" y="4164059"/>
              <a:ext cx="279230" cy="585836"/>
            </a:xfrm>
            <a:prstGeom prst="rect">
              <a:avLst/>
            </a:prstGeom>
          </p:spPr>
        </p:pic>
        <p:pic>
          <p:nvPicPr>
            <p:cNvPr id="148" name="Picture 147">
              <a:extLst>
                <a:ext uri="{FF2B5EF4-FFF2-40B4-BE49-F238E27FC236}">
                  <a16:creationId xmlns:a16="http://schemas.microsoft.com/office/drawing/2014/main" id="{81DF14F6-E2B7-6A4F-859A-FDAEE2660A46}"/>
                </a:ext>
              </a:extLst>
            </p:cNvPr>
            <p:cNvPicPr>
              <a:picLocks noChangeAspect="1"/>
            </p:cNvPicPr>
            <p:nvPr/>
          </p:nvPicPr>
          <p:blipFill>
            <a:blip r:embed="rId3"/>
            <a:stretch>
              <a:fillRect/>
            </a:stretch>
          </p:blipFill>
          <p:spPr>
            <a:xfrm>
              <a:off x="8573367" y="4069289"/>
              <a:ext cx="324401" cy="680606"/>
            </a:xfrm>
            <a:prstGeom prst="rect">
              <a:avLst/>
            </a:prstGeom>
          </p:spPr>
        </p:pic>
        <p:pic>
          <p:nvPicPr>
            <p:cNvPr id="149" name="Picture 148">
              <a:extLst>
                <a:ext uri="{FF2B5EF4-FFF2-40B4-BE49-F238E27FC236}">
                  <a16:creationId xmlns:a16="http://schemas.microsoft.com/office/drawing/2014/main" id="{E0909473-3091-2046-9F62-FB9974642ECA}"/>
                </a:ext>
              </a:extLst>
            </p:cNvPr>
            <p:cNvPicPr>
              <a:picLocks noChangeAspect="1"/>
            </p:cNvPicPr>
            <p:nvPr/>
          </p:nvPicPr>
          <p:blipFill>
            <a:blip r:embed="rId3"/>
            <a:stretch>
              <a:fillRect/>
            </a:stretch>
          </p:blipFill>
          <p:spPr>
            <a:xfrm>
              <a:off x="8826363" y="4164059"/>
              <a:ext cx="279230" cy="585836"/>
            </a:xfrm>
            <a:prstGeom prst="rect">
              <a:avLst/>
            </a:prstGeom>
          </p:spPr>
        </p:pic>
        <p:pic>
          <p:nvPicPr>
            <p:cNvPr id="150" name="Picture 149">
              <a:extLst>
                <a:ext uri="{FF2B5EF4-FFF2-40B4-BE49-F238E27FC236}">
                  <a16:creationId xmlns:a16="http://schemas.microsoft.com/office/drawing/2014/main" id="{8AC81C72-D676-2241-A031-983234CE6BC9}"/>
                </a:ext>
              </a:extLst>
            </p:cNvPr>
            <p:cNvPicPr>
              <a:picLocks noChangeAspect="1"/>
            </p:cNvPicPr>
            <p:nvPr/>
          </p:nvPicPr>
          <p:blipFill>
            <a:blip r:embed="rId3"/>
            <a:stretch>
              <a:fillRect/>
            </a:stretch>
          </p:blipFill>
          <p:spPr>
            <a:xfrm>
              <a:off x="8373334" y="4164059"/>
              <a:ext cx="279230" cy="585836"/>
            </a:xfrm>
            <a:prstGeom prst="rect">
              <a:avLst/>
            </a:prstGeom>
          </p:spPr>
        </p:pic>
        <p:grpSp>
          <p:nvGrpSpPr>
            <p:cNvPr id="151" name="Group 150">
              <a:extLst>
                <a:ext uri="{FF2B5EF4-FFF2-40B4-BE49-F238E27FC236}">
                  <a16:creationId xmlns:a16="http://schemas.microsoft.com/office/drawing/2014/main" id="{7DAEBC0C-20D4-7A49-8859-1F6905D703A1}"/>
                </a:ext>
              </a:extLst>
            </p:cNvPr>
            <p:cNvGrpSpPr/>
            <p:nvPr/>
          </p:nvGrpSpPr>
          <p:grpSpPr>
            <a:xfrm>
              <a:off x="701649" y="3845020"/>
              <a:ext cx="425054" cy="904875"/>
              <a:chOff x="2600325" y="3494088"/>
              <a:chExt cx="566738" cy="1206500"/>
            </a:xfrm>
          </p:grpSpPr>
          <p:sp>
            <p:nvSpPr>
              <p:cNvPr id="224" name="Freeform 114">
                <a:extLst>
                  <a:ext uri="{FF2B5EF4-FFF2-40B4-BE49-F238E27FC236}">
                    <a16:creationId xmlns:a16="http://schemas.microsoft.com/office/drawing/2014/main" id="{B6B9B258-A207-1A40-9F90-72E62B4AF8C6}"/>
                  </a:ext>
                </a:extLst>
              </p:cNvPr>
              <p:cNvSpPr>
                <a:spLocks/>
              </p:cNvSpPr>
              <p:nvPr/>
            </p:nvSpPr>
            <p:spPr bwMode="auto">
              <a:xfrm>
                <a:off x="2600325" y="3494088"/>
                <a:ext cx="566738" cy="1206500"/>
              </a:xfrm>
              <a:custGeom>
                <a:avLst/>
                <a:gdLst>
                  <a:gd name="T0" fmla="*/ 357 w 357"/>
                  <a:gd name="T1" fmla="*/ 760 h 760"/>
                  <a:gd name="T2" fmla="*/ 0 w 357"/>
                  <a:gd name="T3" fmla="*/ 760 h 760"/>
                  <a:gd name="T4" fmla="*/ 0 w 357"/>
                  <a:gd name="T5" fmla="*/ 241 h 760"/>
                  <a:gd name="T6" fmla="*/ 179 w 357"/>
                  <a:gd name="T7" fmla="*/ 0 h 760"/>
                  <a:gd name="T8" fmla="*/ 357 w 357"/>
                  <a:gd name="T9" fmla="*/ 241 h 760"/>
                  <a:gd name="T10" fmla="*/ 357 w 357"/>
                  <a:gd name="T11" fmla="*/ 760 h 760"/>
                </a:gdLst>
                <a:ahLst/>
                <a:cxnLst>
                  <a:cxn ang="0">
                    <a:pos x="T0" y="T1"/>
                  </a:cxn>
                  <a:cxn ang="0">
                    <a:pos x="T2" y="T3"/>
                  </a:cxn>
                  <a:cxn ang="0">
                    <a:pos x="T4" y="T5"/>
                  </a:cxn>
                  <a:cxn ang="0">
                    <a:pos x="T6" y="T7"/>
                  </a:cxn>
                  <a:cxn ang="0">
                    <a:pos x="T8" y="T9"/>
                  </a:cxn>
                  <a:cxn ang="0">
                    <a:pos x="T10" y="T11"/>
                  </a:cxn>
                </a:cxnLst>
                <a:rect l="0" t="0" r="r" b="b"/>
                <a:pathLst>
                  <a:path w="357" h="760">
                    <a:moveTo>
                      <a:pt x="357" y="760"/>
                    </a:moveTo>
                    <a:lnTo>
                      <a:pt x="0" y="760"/>
                    </a:lnTo>
                    <a:lnTo>
                      <a:pt x="0" y="241"/>
                    </a:lnTo>
                    <a:lnTo>
                      <a:pt x="179" y="0"/>
                    </a:lnTo>
                    <a:lnTo>
                      <a:pt x="357" y="241"/>
                    </a:lnTo>
                    <a:lnTo>
                      <a:pt x="357" y="76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25" name="Rectangle 115">
                <a:extLst>
                  <a:ext uri="{FF2B5EF4-FFF2-40B4-BE49-F238E27FC236}">
                    <a16:creationId xmlns:a16="http://schemas.microsoft.com/office/drawing/2014/main" id="{D48AC31A-A4D0-864C-8F5C-31D773752B90}"/>
                  </a:ext>
                </a:extLst>
              </p:cNvPr>
              <p:cNvSpPr>
                <a:spLocks noChangeArrowheads="1"/>
              </p:cNvSpPr>
              <p:nvPr/>
            </p:nvSpPr>
            <p:spPr bwMode="auto">
              <a:xfrm>
                <a:off x="2676525" y="4259263"/>
                <a:ext cx="414338" cy="215900"/>
              </a:xfrm>
              <a:prstGeom prst="rect">
                <a:avLst/>
              </a:prstGeom>
              <a:solidFill>
                <a:schemeClr val="bg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26" name="Freeform 116">
                <a:extLst>
                  <a:ext uri="{FF2B5EF4-FFF2-40B4-BE49-F238E27FC236}">
                    <a16:creationId xmlns:a16="http://schemas.microsoft.com/office/drawing/2014/main" id="{8CADF9B7-778E-8142-B858-3B93D9817F9B}"/>
                  </a:ext>
                </a:extLst>
              </p:cNvPr>
              <p:cNvSpPr>
                <a:spLocks/>
              </p:cNvSpPr>
              <p:nvPr/>
            </p:nvSpPr>
            <p:spPr bwMode="auto">
              <a:xfrm>
                <a:off x="2628900" y="4148138"/>
                <a:ext cx="511175" cy="149225"/>
              </a:xfrm>
              <a:custGeom>
                <a:avLst/>
                <a:gdLst>
                  <a:gd name="T0" fmla="*/ 253 w 253"/>
                  <a:gd name="T1" fmla="*/ 61 h 74"/>
                  <a:gd name="T2" fmla="*/ 238 w 253"/>
                  <a:gd name="T3" fmla="*/ 0 h 74"/>
                  <a:gd name="T4" fmla="*/ 154 w 253"/>
                  <a:gd name="T5" fmla="*/ 0 h 74"/>
                  <a:gd name="T6" fmla="*/ 102 w 253"/>
                  <a:gd name="T7" fmla="*/ 0 h 74"/>
                  <a:gd name="T8" fmla="*/ 15 w 253"/>
                  <a:gd name="T9" fmla="*/ 0 h 74"/>
                  <a:gd name="T10" fmla="*/ 1 w 253"/>
                  <a:gd name="T11" fmla="*/ 61 h 74"/>
                  <a:gd name="T12" fmla="*/ 0 w 253"/>
                  <a:gd name="T13" fmla="*/ 64 h 74"/>
                  <a:gd name="T14" fmla="*/ 10 w 253"/>
                  <a:gd name="T15" fmla="*/ 74 h 74"/>
                  <a:gd name="T16" fmla="*/ 20 w 253"/>
                  <a:gd name="T17" fmla="*/ 64 h 74"/>
                  <a:gd name="T18" fmla="*/ 29 w 253"/>
                  <a:gd name="T19" fmla="*/ 74 h 74"/>
                  <a:gd name="T20" fmla="*/ 39 w 253"/>
                  <a:gd name="T21" fmla="*/ 64 h 74"/>
                  <a:gd name="T22" fmla="*/ 49 w 253"/>
                  <a:gd name="T23" fmla="*/ 74 h 74"/>
                  <a:gd name="T24" fmla="*/ 59 w 253"/>
                  <a:gd name="T25" fmla="*/ 64 h 74"/>
                  <a:gd name="T26" fmla="*/ 68 w 253"/>
                  <a:gd name="T27" fmla="*/ 74 h 74"/>
                  <a:gd name="T28" fmla="*/ 78 w 253"/>
                  <a:gd name="T29" fmla="*/ 64 h 74"/>
                  <a:gd name="T30" fmla="*/ 88 w 253"/>
                  <a:gd name="T31" fmla="*/ 74 h 74"/>
                  <a:gd name="T32" fmla="*/ 98 w 253"/>
                  <a:gd name="T33" fmla="*/ 64 h 74"/>
                  <a:gd name="T34" fmla="*/ 107 w 253"/>
                  <a:gd name="T35" fmla="*/ 74 h 74"/>
                  <a:gd name="T36" fmla="*/ 117 w 253"/>
                  <a:gd name="T37" fmla="*/ 64 h 74"/>
                  <a:gd name="T38" fmla="*/ 127 w 253"/>
                  <a:gd name="T39" fmla="*/ 74 h 74"/>
                  <a:gd name="T40" fmla="*/ 136 w 253"/>
                  <a:gd name="T41" fmla="*/ 64 h 74"/>
                  <a:gd name="T42" fmla="*/ 146 w 253"/>
                  <a:gd name="T43" fmla="*/ 74 h 74"/>
                  <a:gd name="T44" fmla="*/ 156 w 253"/>
                  <a:gd name="T45" fmla="*/ 64 h 74"/>
                  <a:gd name="T46" fmla="*/ 166 w 253"/>
                  <a:gd name="T47" fmla="*/ 74 h 74"/>
                  <a:gd name="T48" fmla="*/ 175 w 253"/>
                  <a:gd name="T49" fmla="*/ 64 h 74"/>
                  <a:gd name="T50" fmla="*/ 185 w 253"/>
                  <a:gd name="T51" fmla="*/ 74 h 74"/>
                  <a:gd name="T52" fmla="*/ 195 w 253"/>
                  <a:gd name="T53" fmla="*/ 64 h 74"/>
                  <a:gd name="T54" fmla="*/ 205 w 253"/>
                  <a:gd name="T55" fmla="*/ 74 h 74"/>
                  <a:gd name="T56" fmla="*/ 214 w 253"/>
                  <a:gd name="T57" fmla="*/ 64 h 74"/>
                  <a:gd name="T58" fmla="*/ 224 w 253"/>
                  <a:gd name="T59" fmla="*/ 74 h 74"/>
                  <a:gd name="T60" fmla="*/ 234 w 253"/>
                  <a:gd name="T61" fmla="*/ 64 h 74"/>
                  <a:gd name="T62" fmla="*/ 244 w 253"/>
                  <a:gd name="T63" fmla="*/ 74 h 74"/>
                  <a:gd name="T64" fmla="*/ 253 w 253"/>
                  <a:gd name="T65" fmla="*/ 64 h 74"/>
                  <a:gd name="T66" fmla="*/ 253 w 253"/>
                  <a:gd name="T67"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3" h="74">
                    <a:moveTo>
                      <a:pt x="253" y="61"/>
                    </a:moveTo>
                    <a:cubicBezTo>
                      <a:pt x="238" y="0"/>
                      <a:pt x="238" y="0"/>
                      <a:pt x="238" y="0"/>
                    </a:cubicBezTo>
                    <a:cubicBezTo>
                      <a:pt x="154" y="0"/>
                      <a:pt x="154" y="0"/>
                      <a:pt x="154" y="0"/>
                    </a:cubicBezTo>
                    <a:cubicBezTo>
                      <a:pt x="102" y="0"/>
                      <a:pt x="102" y="0"/>
                      <a:pt x="102" y="0"/>
                    </a:cubicBezTo>
                    <a:cubicBezTo>
                      <a:pt x="15" y="0"/>
                      <a:pt x="15" y="0"/>
                      <a:pt x="15" y="0"/>
                    </a:cubicBezTo>
                    <a:cubicBezTo>
                      <a:pt x="1" y="61"/>
                      <a:pt x="1" y="61"/>
                      <a:pt x="1" y="61"/>
                    </a:cubicBezTo>
                    <a:cubicBezTo>
                      <a:pt x="0" y="62"/>
                      <a:pt x="0" y="63"/>
                      <a:pt x="0" y="64"/>
                    </a:cubicBezTo>
                    <a:cubicBezTo>
                      <a:pt x="0" y="69"/>
                      <a:pt x="5" y="74"/>
                      <a:pt x="10" y="74"/>
                    </a:cubicBezTo>
                    <a:cubicBezTo>
                      <a:pt x="15" y="74"/>
                      <a:pt x="20" y="69"/>
                      <a:pt x="20" y="64"/>
                    </a:cubicBezTo>
                    <a:cubicBezTo>
                      <a:pt x="20" y="69"/>
                      <a:pt x="24" y="74"/>
                      <a:pt x="29" y="74"/>
                    </a:cubicBezTo>
                    <a:cubicBezTo>
                      <a:pt x="35" y="74"/>
                      <a:pt x="39" y="69"/>
                      <a:pt x="39" y="64"/>
                    </a:cubicBezTo>
                    <a:cubicBezTo>
                      <a:pt x="39" y="69"/>
                      <a:pt x="43" y="74"/>
                      <a:pt x="49" y="74"/>
                    </a:cubicBezTo>
                    <a:cubicBezTo>
                      <a:pt x="54" y="74"/>
                      <a:pt x="59" y="69"/>
                      <a:pt x="59" y="64"/>
                    </a:cubicBezTo>
                    <a:cubicBezTo>
                      <a:pt x="59" y="69"/>
                      <a:pt x="63" y="74"/>
                      <a:pt x="68" y="74"/>
                    </a:cubicBezTo>
                    <a:cubicBezTo>
                      <a:pt x="74" y="74"/>
                      <a:pt x="78" y="69"/>
                      <a:pt x="78" y="64"/>
                    </a:cubicBezTo>
                    <a:cubicBezTo>
                      <a:pt x="78" y="69"/>
                      <a:pt x="82" y="74"/>
                      <a:pt x="88" y="74"/>
                    </a:cubicBezTo>
                    <a:cubicBezTo>
                      <a:pt x="93" y="74"/>
                      <a:pt x="98" y="69"/>
                      <a:pt x="98" y="64"/>
                    </a:cubicBezTo>
                    <a:cubicBezTo>
                      <a:pt x="98" y="69"/>
                      <a:pt x="102" y="74"/>
                      <a:pt x="107" y="74"/>
                    </a:cubicBezTo>
                    <a:cubicBezTo>
                      <a:pt x="113" y="74"/>
                      <a:pt x="117" y="69"/>
                      <a:pt x="117" y="64"/>
                    </a:cubicBezTo>
                    <a:cubicBezTo>
                      <a:pt x="117" y="69"/>
                      <a:pt x="121" y="74"/>
                      <a:pt x="127" y="74"/>
                    </a:cubicBezTo>
                    <a:cubicBezTo>
                      <a:pt x="132" y="74"/>
                      <a:pt x="136" y="69"/>
                      <a:pt x="136" y="64"/>
                    </a:cubicBezTo>
                    <a:cubicBezTo>
                      <a:pt x="136" y="69"/>
                      <a:pt x="141" y="74"/>
                      <a:pt x="146" y="74"/>
                    </a:cubicBezTo>
                    <a:cubicBezTo>
                      <a:pt x="152" y="74"/>
                      <a:pt x="156" y="69"/>
                      <a:pt x="156" y="64"/>
                    </a:cubicBezTo>
                    <a:cubicBezTo>
                      <a:pt x="156" y="69"/>
                      <a:pt x="160" y="74"/>
                      <a:pt x="166" y="74"/>
                    </a:cubicBezTo>
                    <a:cubicBezTo>
                      <a:pt x="171" y="74"/>
                      <a:pt x="175" y="69"/>
                      <a:pt x="175" y="64"/>
                    </a:cubicBezTo>
                    <a:cubicBezTo>
                      <a:pt x="175" y="69"/>
                      <a:pt x="180" y="74"/>
                      <a:pt x="185" y="74"/>
                    </a:cubicBezTo>
                    <a:cubicBezTo>
                      <a:pt x="191" y="74"/>
                      <a:pt x="195" y="69"/>
                      <a:pt x="195" y="64"/>
                    </a:cubicBezTo>
                    <a:cubicBezTo>
                      <a:pt x="195" y="69"/>
                      <a:pt x="199" y="74"/>
                      <a:pt x="205" y="74"/>
                    </a:cubicBezTo>
                    <a:cubicBezTo>
                      <a:pt x="210" y="74"/>
                      <a:pt x="214" y="69"/>
                      <a:pt x="214" y="64"/>
                    </a:cubicBezTo>
                    <a:cubicBezTo>
                      <a:pt x="214" y="69"/>
                      <a:pt x="219" y="74"/>
                      <a:pt x="224" y="74"/>
                    </a:cubicBezTo>
                    <a:cubicBezTo>
                      <a:pt x="229" y="74"/>
                      <a:pt x="234" y="69"/>
                      <a:pt x="234" y="64"/>
                    </a:cubicBezTo>
                    <a:cubicBezTo>
                      <a:pt x="234" y="69"/>
                      <a:pt x="238" y="74"/>
                      <a:pt x="244" y="74"/>
                    </a:cubicBezTo>
                    <a:cubicBezTo>
                      <a:pt x="249" y="74"/>
                      <a:pt x="253" y="69"/>
                      <a:pt x="253" y="64"/>
                    </a:cubicBezTo>
                    <a:cubicBezTo>
                      <a:pt x="253" y="63"/>
                      <a:pt x="253" y="62"/>
                      <a:pt x="253" y="61"/>
                    </a:cubicBezTo>
                    <a:close/>
                  </a:path>
                </a:pathLst>
              </a:cu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27" name="Rectangle 117">
                <a:extLst>
                  <a:ext uri="{FF2B5EF4-FFF2-40B4-BE49-F238E27FC236}">
                    <a16:creationId xmlns:a16="http://schemas.microsoft.com/office/drawing/2014/main" id="{73FDA977-A97B-0341-A546-13481E2C754D}"/>
                  </a:ext>
                </a:extLst>
              </p:cNvPr>
              <p:cNvSpPr>
                <a:spLocks noChangeArrowheads="1"/>
              </p:cNvSpPr>
              <p:nvPr/>
            </p:nvSpPr>
            <p:spPr bwMode="auto">
              <a:xfrm>
                <a:off x="2681288" y="3911600"/>
                <a:ext cx="65088" cy="14922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28" name="Rectangle 118">
                <a:extLst>
                  <a:ext uri="{FF2B5EF4-FFF2-40B4-BE49-F238E27FC236}">
                    <a16:creationId xmlns:a16="http://schemas.microsoft.com/office/drawing/2014/main" id="{C27C5CF3-320F-0547-BD98-51A126096283}"/>
                  </a:ext>
                </a:extLst>
              </p:cNvPr>
              <p:cNvSpPr>
                <a:spLocks noChangeArrowheads="1"/>
              </p:cNvSpPr>
              <p:nvPr/>
            </p:nvSpPr>
            <p:spPr bwMode="auto">
              <a:xfrm>
                <a:off x="2786063" y="3911600"/>
                <a:ext cx="65088" cy="14922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29" name="Rectangle 119">
                <a:extLst>
                  <a:ext uri="{FF2B5EF4-FFF2-40B4-BE49-F238E27FC236}">
                    <a16:creationId xmlns:a16="http://schemas.microsoft.com/office/drawing/2014/main" id="{9C192E21-93B7-9349-B803-1149D44E8A30}"/>
                  </a:ext>
                </a:extLst>
              </p:cNvPr>
              <p:cNvSpPr>
                <a:spLocks noChangeArrowheads="1"/>
              </p:cNvSpPr>
              <p:nvPr/>
            </p:nvSpPr>
            <p:spPr bwMode="auto">
              <a:xfrm>
                <a:off x="2890838" y="3911600"/>
                <a:ext cx="66675" cy="14922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30" name="Rectangle 120">
                <a:extLst>
                  <a:ext uri="{FF2B5EF4-FFF2-40B4-BE49-F238E27FC236}">
                    <a16:creationId xmlns:a16="http://schemas.microsoft.com/office/drawing/2014/main" id="{0C8887B7-4C54-434A-B580-EAC811638F39}"/>
                  </a:ext>
                </a:extLst>
              </p:cNvPr>
              <p:cNvSpPr>
                <a:spLocks noChangeArrowheads="1"/>
              </p:cNvSpPr>
              <p:nvPr/>
            </p:nvSpPr>
            <p:spPr bwMode="auto">
              <a:xfrm>
                <a:off x="2997200" y="3911600"/>
                <a:ext cx="65088" cy="149225"/>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pic>
          <p:nvPicPr>
            <p:cNvPr id="152" name="Picture 151">
              <a:extLst>
                <a:ext uri="{FF2B5EF4-FFF2-40B4-BE49-F238E27FC236}">
                  <a16:creationId xmlns:a16="http://schemas.microsoft.com/office/drawing/2014/main" id="{A0C4DA0E-6558-E34F-9E10-496E4F990A9A}"/>
                </a:ext>
              </a:extLst>
            </p:cNvPr>
            <p:cNvPicPr>
              <a:picLocks noChangeAspect="1"/>
            </p:cNvPicPr>
            <p:nvPr/>
          </p:nvPicPr>
          <p:blipFill>
            <a:blip r:embed="rId3"/>
            <a:stretch>
              <a:fillRect/>
            </a:stretch>
          </p:blipFill>
          <p:spPr>
            <a:xfrm>
              <a:off x="513954" y="4164059"/>
              <a:ext cx="279230" cy="585836"/>
            </a:xfrm>
            <a:prstGeom prst="rect">
              <a:avLst/>
            </a:prstGeom>
          </p:spPr>
        </p:pic>
        <p:grpSp>
          <p:nvGrpSpPr>
            <p:cNvPr id="153" name="Group 152">
              <a:extLst>
                <a:ext uri="{FF2B5EF4-FFF2-40B4-BE49-F238E27FC236}">
                  <a16:creationId xmlns:a16="http://schemas.microsoft.com/office/drawing/2014/main" id="{4AB649CB-F469-0749-AFA8-DF3C272E69B3}"/>
                </a:ext>
              </a:extLst>
            </p:cNvPr>
            <p:cNvGrpSpPr/>
            <p:nvPr/>
          </p:nvGrpSpPr>
          <p:grpSpPr>
            <a:xfrm>
              <a:off x="4222714" y="3779228"/>
              <a:ext cx="511780" cy="970667"/>
              <a:chOff x="2089150" y="4514850"/>
              <a:chExt cx="568325" cy="1077913"/>
            </a:xfrm>
          </p:grpSpPr>
          <p:sp>
            <p:nvSpPr>
              <p:cNvPr id="214" name="Freeform 121">
                <a:extLst>
                  <a:ext uri="{FF2B5EF4-FFF2-40B4-BE49-F238E27FC236}">
                    <a16:creationId xmlns:a16="http://schemas.microsoft.com/office/drawing/2014/main" id="{EE789F36-C420-BE4D-91C4-7A8D4654F274}"/>
                  </a:ext>
                </a:extLst>
              </p:cNvPr>
              <p:cNvSpPr>
                <a:spLocks/>
              </p:cNvSpPr>
              <p:nvPr/>
            </p:nvSpPr>
            <p:spPr bwMode="auto">
              <a:xfrm>
                <a:off x="2089150" y="4514850"/>
                <a:ext cx="568325" cy="1077913"/>
              </a:xfrm>
              <a:custGeom>
                <a:avLst/>
                <a:gdLst>
                  <a:gd name="T0" fmla="*/ 358 w 358"/>
                  <a:gd name="T1" fmla="*/ 679 h 679"/>
                  <a:gd name="T2" fmla="*/ 0 w 358"/>
                  <a:gd name="T3" fmla="*/ 679 h 679"/>
                  <a:gd name="T4" fmla="*/ 0 w 358"/>
                  <a:gd name="T5" fmla="*/ 243 h 679"/>
                  <a:gd name="T6" fmla="*/ 178 w 358"/>
                  <a:gd name="T7" fmla="*/ 0 h 679"/>
                  <a:gd name="T8" fmla="*/ 358 w 358"/>
                  <a:gd name="T9" fmla="*/ 243 h 679"/>
                  <a:gd name="T10" fmla="*/ 358 w 358"/>
                  <a:gd name="T11" fmla="*/ 679 h 679"/>
                </a:gdLst>
                <a:ahLst/>
                <a:cxnLst>
                  <a:cxn ang="0">
                    <a:pos x="T0" y="T1"/>
                  </a:cxn>
                  <a:cxn ang="0">
                    <a:pos x="T2" y="T3"/>
                  </a:cxn>
                  <a:cxn ang="0">
                    <a:pos x="T4" y="T5"/>
                  </a:cxn>
                  <a:cxn ang="0">
                    <a:pos x="T6" y="T7"/>
                  </a:cxn>
                  <a:cxn ang="0">
                    <a:pos x="T8" y="T9"/>
                  </a:cxn>
                  <a:cxn ang="0">
                    <a:pos x="T10" y="T11"/>
                  </a:cxn>
                </a:cxnLst>
                <a:rect l="0" t="0" r="r" b="b"/>
                <a:pathLst>
                  <a:path w="358" h="679">
                    <a:moveTo>
                      <a:pt x="358" y="679"/>
                    </a:moveTo>
                    <a:lnTo>
                      <a:pt x="0" y="679"/>
                    </a:lnTo>
                    <a:lnTo>
                      <a:pt x="0" y="243"/>
                    </a:lnTo>
                    <a:lnTo>
                      <a:pt x="178" y="0"/>
                    </a:lnTo>
                    <a:lnTo>
                      <a:pt x="358" y="243"/>
                    </a:lnTo>
                    <a:lnTo>
                      <a:pt x="358" y="67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nvGrpSpPr>
              <p:cNvPr id="215" name="Group 214">
                <a:extLst>
                  <a:ext uri="{FF2B5EF4-FFF2-40B4-BE49-F238E27FC236}">
                    <a16:creationId xmlns:a16="http://schemas.microsoft.com/office/drawing/2014/main" id="{AC0826A7-BF7A-F14B-A942-2F18E5658687}"/>
                  </a:ext>
                </a:extLst>
              </p:cNvPr>
              <p:cNvGrpSpPr/>
              <p:nvPr/>
            </p:nvGrpSpPr>
            <p:grpSpPr>
              <a:xfrm>
                <a:off x="2160588" y="4946650"/>
                <a:ext cx="423862" cy="392113"/>
                <a:chOff x="2160588" y="4946650"/>
                <a:chExt cx="423862" cy="392113"/>
              </a:xfrm>
              <a:solidFill>
                <a:schemeClr val="accent4">
                  <a:lumMod val="60000"/>
                  <a:lumOff val="40000"/>
                </a:schemeClr>
              </a:solidFill>
            </p:grpSpPr>
            <p:sp>
              <p:nvSpPr>
                <p:cNvPr id="216" name="Freeform 122">
                  <a:extLst>
                    <a:ext uri="{FF2B5EF4-FFF2-40B4-BE49-F238E27FC236}">
                      <a16:creationId xmlns:a16="http://schemas.microsoft.com/office/drawing/2014/main" id="{75294AD7-0C71-3945-9005-FDE2CE7C9E3A}"/>
                    </a:ext>
                  </a:extLst>
                </p:cNvPr>
                <p:cNvSpPr>
                  <a:spLocks/>
                </p:cNvSpPr>
                <p:nvPr/>
              </p:nvSpPr>
              <p:spPr bwMode="auto">
                <a:xfrm>
                  <a:off x="2160588" y="4946650"/>
                  <a:ext cx="84138" cy="176213"/>
                </a:xfrm>
                <a:custGeom>
                  <a:avLst/>
                  <a:gdLst>
                    <a:gd name="T0" fmla="*/ 42 w 42"/>
                    <a:gd name="T1" fmla="*/ 21 h 87"/>
                    <a:gd name="T2" fmla="*/ 42 w 42"/>
                    <a:gd name="T3" fmla="*/ 21 h 87"/>
                    <a:gd name="T4" fmla="*/ 21 w 42"/>
                    <a:gd name="T5" fmla="*/ 0 h 87"/>
                    <a:gd name="T6" fmla="*/ 0 w 42"/>
                    <a:gd name="T7" fmla="*/ 21 h 87"/>
                    <a:gd name="T8" fmla="*/ 1 w 42"/>
                    <a:gd name="T9" fmla="*/ 21 h 87"/>
                    <a:gd name="T10" fmla="*/ 0 w 42"/>
                    <a:gd name="T11" fmla="*/ 21 h 87"/>
                    <a:gd name="T12" fmla="*/ 0 w 42"/>
                    <a:gd name="T13" fmla="*/ 87 h 87"/>
                    <a:gd name="T14" fmla="*/ 42 w 42"/>
                    <a:gd name="T15" fmla="*/ 87 h 87"/>
                    <a:gd name="T16" fmla="*/ 42 w 42"/>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7">
                      <a:moveTo>
                        <a:pt x="42" y="21"/>
                      </a:moveTo>
                      <a:cubicBezTo>
                        <a:pt x="42" y="21"/>
                        <a:pt x="42" y="21"/>
                        <a:pt x="42" y="21"/>
                      </a:cubicBezTo>
                      <a:cubicBezTo>
                        <a:pt x="42" y="10"/>
                        <a:pt x="33" y="0"/>
                        <a:pt x="21" y="0"/>
                      </a:cubicBezTo>
                      <a:cubicBezTo>
                        <a:pt x="10" y="0"/>
                        <a:pt x="0" y="10"/>
                        <a:pt x="0" y="21"/>
                      </a:cubicBezTo>
                      <a:cubicBezTo>
                        <a:pt x="0" y="21"/>
                        <a:pt x="1" y="21"/>
                        <a:pt x="1" y="21"/>
                      </a:cubicBezTo>
                      <a:cubicBezTo>
                        <a:pt x="0" y="21"/>
                        <a:pt x="0" y="21"/>
                        <a:pt x="0" y="21"/>
                      </a:cubicBezTo>
                      <a:cubicBezTo>
                        <a:pt x="0" y="87"/>
                        <a:pt x="0" y="87"/>
                        <a:pt x="0" y="87"/>
                      </a:cubicBezTo>
                      <a:cubicBezTo>
                        <a:pt x="42" y="87"/>
                        <a:pt x="42" y="87"/>
                        <a:pt x="42" y="87"/>
                      </a:cubicBezTo>
                      <a:cubicBezTo>
                        <a:pt x="42" y="21"/>
                        <a:pt x="42" y="21"/>
                        <a:pt x="4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17" name="Freeform 123">
                  <a:extLst>
                    <a:ext uri="{FF2B5EF4-FFF2-40B4-BE49-F238E27FC236}">
                      <a16:creationId xmlns:a16="http://schemas.microsoft.com/office/drawing/2014/main" id="{388C05C0-94CD-6744-A3CF-FEE98E6F4FF2}"/>
                    </a:ext>
                  </a:extLst>
                </p:cNvPr>
                <p:cNvSpPr>
                  <a:spLocks/>
                </p:cNvSpPr>
                <p:nvPr/>
              </p:nvSpPr>
              <p:spPr bwMode="auto">
                <a:xfrm>
                  <a:off x="2274888" y="4946650"/>
                  <a:ext cx="82550" cy="176213"/>
                </a:xfrm>
                <a:custGeom>
                  <a:avLst/>
                  <a:gdLst>
                    <a:gd name="T0" fmla="*/ 41 w 41"/>
                    <a:gd name="T1" fmla="*/ 21 h 87"/>
                    <a:gd name="T2" fmla="*/ 41 w 41"/>
                    <a:gd name="T3" fmla="*/ 21 h 87"/>
                    <a:gd name="T4" fmla="*/ 20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10"/>
                        <a:pt x="32" y="0"/>
                        <a:pt x="20" y="0"/>
                      </a:cubicBezTo>
                      <a:cubicBezTo>
                        <a:pt x="9" y="0"/>
                        <a:pt x="0" y="10"/>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18" name="Freeform 124">
                  <a:extLst>
                    <a:ext uri="{FF2B5EF4-FFF2-40B4-BE49-F238E27FC236}">
                      <a16:creationId xmlns:a16="http://schemas.microsoft.com/office/drawing/2014/main" id="{5318656E-15A8-2549-A04E-22B6B000A175}"/>
                    </a:ext>
                  </a:extLst>
                </p:cNvPr>
                <p:cNvSpPr>
                  <a:spLocks/>
                </p:cNvSpPr>
                <p:nvPr/>
              </p:nvSpPr>
              <p:spPr bwMode="auto">
                <a:xfrm>
                  <a:off x="2387600" y="4946650"/>
                  <a:ext cx="84138" cy="176213"/>
                </a:xfrm>
                <a:custGeom>
                  <a:avLst/>
                  <a:gdLst>
                    <a:gd name="T0" fmla="*/ 41 w 41"/>
                    <a:gd name="T1" fmla="*/ 21 h 87"/>
                    <a:gd name="T2" fmla="*/ 41 w 41"/>
                    <a:gd name="T3" fmla="*/ 21 h 87"/>
                    <a:gd name="T4" fmla="*/ 20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10"/>
                        <a:pt x="32" y="0"/>
                        <a:pt x="20" y="0"/>
                      </a:cubicBezTo>
                      <a:cubicBezTo>
                        <a:pt x="9" y="0"/>
                        <a:pt x="0" y="10"/>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19" name="Freeform 125">
                  <a:extLst>
                    <a:ext uri="{FF2B5EF4-FFF2-40B4-BE49-F238E27FC236}">
                      <a16:creationId xmlns:a16="http://schemas.microsoft.com/office/drawing/2014/main" id="{CC4414B0-A22C-5544-A773-D8A915EC1EFA}"/>
                    </a:ext>
                  </a:extLst>
                </p:cNvPr>
                <p:cNvSpPr>
                  <a:spLocks/>
                </p:cNvSpPr>
                <p:nvPr/>
              </p:nvSpPr>
              <p:spPr bwMode="auto">
                <a:xfrm>
                  <a:off x="2501900" y="4946650"/>
                  <a:ext cx="82550" cy="176213"/>
                </a:xfrm>
                <a:custGeom>
                  <a:avLst/>
                  <a:gdLst>
                    <a:gd name="T0" fmla="*/ 41 w 41"/>
                    <a:gd name="T1" fmla="*/ 21 h 87"/>
                    <a:gd name="T2" fmla="*/ 41 w 41"/>
                    <a:gd name="T3" fmla="*/ 21 h 87"/>
                    <a:gd name="T4" fmla="*/ 21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10"/>
                        <a:pt x="32" y="0"/>
                        <a:pt x="21" y="0"/>
                      </a:cubicBezTo>
                      <a:cubicBezTo>
                        <a:pt x="9" y="0"/>
                        <a:pt x="0" y="10"/>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20" name="Freeform 126">
                  <a:extLst>
                    <a:ext uri="{FF2B5EF4-FFF2-40B4-BE49-F238E27FC236}">
                      <a16:creationId xmlns:a16="http://schemas.microsoft.com/office/drawing/2014/main" id="{49E99591-3A98-E644-8779-275B33B1423D}"/>
                    </a:ext>
                  </a:extLst>
                </p:cNvPr>
                <p:cNvSpPr>
                  <a:spLocks/>
                </p:cNvSpPr>
                <p:nvPr/>
              </p:nvSpPr>
              <p:spPr bwMode="auto">
                <a:xfrm>
                  <a:off x="2160588" y="5162550"/>
                  <a:ext cx="84138" cy="176213"/>
                </a:xfrm>
                <a:custGeom>
                  <a:avLst/>
                  <a:gdLst>
                    <a:gd name="T0" fmla="*/ 42 w 42"/>
                    <a:gd name="T1" fmla="*/ 21 h 87"/>
                    <a:gd name="T2" fmla="*/ 42 w 42"/>
                    <a:gd name="T3" fmla="*/ 21 h 87"/>
                    <a:gd name="T4" fmla="*/ 21 w 42"/>
                    <a:gd name="T5" fmla="*/ 0 h 87"/>
                    <a:gd name="T6" fmla="*/ 0 w 42"/>
                    <a:gd name="T7" fmla="*/ 21 h 87"/>
                    <a:gd name="T8" fmla="*/ 1 w 42"/>
                    <a:gd name="T9" fmla="*/ 21 h 87"/>
                    <a:gd name="T10" fmla="*/ 0 w 42"/>
                    <a:gd name="T11" fmla="*/ 21 h 87"/>
                    <a:gd name="T12" fmla="*/ 0 w 42"/>
                    <a:gd name="T13" fmla="*/ 87 h 87"/>
                    <a:gd name="T14" fmla="*/ 42 w 42"/>
                    <a:gd name="T15" fmla="*/ 87 h 87"/>
                    <a:gd name="T16" fmla="*/ 42 w 42"/>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87">
                      <a:moveTo>
                        <a:pt x="42" y="21"/>
                      </a:moveTo>
                      <a:cubicBezTo>
                        <a:pt x="42" y="21"/>
                        <a:pt x="42" y="21"/>
                        <a:pt x="42" y="21"/>
                      </a:cubicBezTo>
                      <a:cubicBezTo>
                        <a:pt x="42" y="9"/>
                        <a:pt x="33" y="0"/>
                        <a:pt x="21" y="0"/>
                      </a:cubicBezTo>
                      <a:cubicBezTo>
                        <a:pt x="10" y="0"/>
                        <a:pt x="0" y="9"/>
                        <a:pt x="0" y="21"/>
                      </a:cubicBezTo>
                      <a:cubicBezTo>
                        <a:pt x="0" y="21"/>
                        <a:pt x="1" y="21"/>
                        <a:pt x="1" y="21"/>
                      </a:cubicBezTo>
                      <a:cubicBezTo>
                        <a:pt x="0" y="21"/>
                        <a:pt x="0" y="21"/>
                        <a:pt x="0" y="21"/>
                      </a:cubicBezTo>
                      <a:cubicBezTo>
                        <a:pt x="0" y="87"/>
                        <a:pt x="0" y="87"/>
                        <a:pt x="0" y="87"/>
                      </a:cubicBezTo>
                      <a:cubicBezTo>
                        <a:pt x="42" y="87"/>
                        <a:pt x="42" y="87"/>
                        <a:pt x="42" y="87"/>
                      </a:cubicBezTo>
                      <a:cubicBezTo>
                        <a:pt x="42" y="21"/>
                        <a:pt x="42" y="21"/>
                        <a:pt x="4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21" name="Freeform 127">
                  <a:extLst>
                    <a:ext uri="{FF2B5EF4-FFF2-40B4-BE49-F238E27FC236}">
                      <a16:creationId xmlns:a16="http://schemas.microsoft.com/office/drawing/2014/main" id="{3308CD28-2D0F-7D46-A1BC-373EA066113B}"/>
                    </a:ext>
                  </a:extLst>
                </p:cNvPr>
                <p:cNvSpPr>
                  <a:spLocks/>
                </p:cNvSpPr>
                <p:nvPr/>
              </p:nvSpPr>
              <p:spPr bwMode="auto">
                <a:xfrm>
                  <a:off x="2274888" y="5162550"/>
                  <a:ext cx="82550" cy="176213"/>
                </a:xfrm>
                <a:custGeom>
                  <a:avLst/>
                  <a:gdLst>
                    <a:gd name="T0" fmla="*/ 41 w 41"/>
                    <a:gd name="T1" fmla="*/ 21 h 87"/>
                    <a:gd name="T2" fmla="*/ 41 w 41"/>
                    <a:gd name="T3" fmla="*/ 21 h 87"/>
                    <a:gd name="T4" fmla="*/ 20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9"/>
                        <a:pt x="32" y="0"/>
                        <a:pt x="20" y="0"/>
                      </a:cubicBezTo>
                      <a:cubicBezTo>
                        <a:pt x="9" y="0"/>
                        <a:pt x="0" y="9"/>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22" name="Freeform 128">
                  <a:extLst>
                    <a:ext uri="{FF2B5EF4-FFF2-40B4-BE49-F238E27FC236}">
                      <a16:creationId xmlns:a16="http://schemas.microsoft.com/office/drawing/2014/main" id="{733D8824-A725-B84E-B00A-36BC1BCB2DCE}"/>
                    </a:ext>
                  </a:extLst>
                </p:cNvPr>
                <p:cNvSpPr>
                  <a:spLocks/>
                </p:cNvSpPr>
                <p:nvPr/>
              </p:nvSpPr>
              <p:spPr bwMode="auto">
                <a:xfrm>
                  <a:off x="2387600" y="5162550"/>
                  <a:ext cx="84138" cy="176213"/>
                </a:xfrm>
                <a:custGeom>
                  <a:avLst/>
                  <a:gdLst>
                    <a:gd name="T0" fmla="*/ 41 w 41"/>
                    <a:gd name="T1" fmla="*/ 21 h 87"/>
                    <a:gd name="T2" fmla="*/ 41 w 41"/>
                    <a:gd name="T3" fmla="*/ 21 h 87"/>
                    <a:gd name="T4" fmla="*/ 20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9"/>
                        <a:pt x="32" y="0"/>
                        <a:pt x="20" y="0"/>
                      </a:cubicBezTo>
                      <a:cubicBezTo>
                        <a:pt x="9" y="0"/>
                        <a:pt x="0" y="9"/>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23" name="Freeform 129">
                  <a:extLst>
                    <a:ext uri="{FF2B5EF4-FFF2-40B4-BE49-F238E27FC236}">
                      <a16:creationId xmlns:a16="http://schemas.microsoft.com/office/drawing/2014/main" id="{E63AC165-40FD-7244-97C1-8C52D37E1CEC}"/>
                    </a:ext>
                  </a:extLst>
                </p:cNvPr>
                <p:cNvSpPr>
                  <a:spLocks/>
                </p:cNvSpPr>
                <p:nvPr/>
              </p:nvSpPr>
              <p:spPr bwMode="auto">
                <a:xfrm>
                  <a:off x="2501900" y="5162550"/>
                  <a:ext cx="82550" cy="176213"/>
                </a:xfrm>
                <a:custGeom>
                  <a:avLst/>
                  <a:gdLst>
                    <a:gd name="T0" fmla="*/ 41 w 41"/>
                    <a:gd name="T1" fmla="*/ 21 h 87"/>
                    <a:gd name="T2" fmla="*/ 41 w 41"/>
                    <a:gd name="T3" fmla="*/ 21 h 87"/>
                    <a:gd name="T4" fmla="*/ 21 w 41"/>
                    <a:gd name="T5" fmla="*/ 0 h 87"/>
                    <a:gd name="T6" fmla="*/ 0 w 41"/>
                    <a:gd name="T7" fmla="*/ 21 h 87"/>
                    <a:gd name="T8" fmla="*/ 0 w 41"/>
                    <a:gd name="T9" fmla="*/ 21 h 87"/>
                    <a:gd name="T10" fmla="*/ 0 w 41"/>
                    <a:gd name="T11" fmla="*/ 21 h 87"/>
                    <a:gd name="T12" fmla="*/ 0 w 41"/>
                    <a:gd name="T13" fmla="*/ 87 h 87"/>
                    <a:gd name="T14" fmla="*/ 41 w 41"/>
                    <a:gd name="T15" fmla="*/ 87 h 87"/>
                    <a:gd name="T16" fmla="*/ 41 w 41"/>
                    <a:gd name="T1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87">
                      <a:moveTo>
                        <a:pt x="41" y="21"/>
                      </a:moveTo>
                      <a:cubicBezTo>
                        <a:pt x="41" y="21"/>
                        <a:pt x="41" y="21"/>
                        <a:pt x="41" y="21"/>
                      </a:cubicBezTo>
                      <a:cubicBezTo>
                        <a:pt x="41" y="9"/>
                        <a:pt x="32" y="0"/>
                        <a:pt x="21" y="0"/>
                      </a:cubicBezTo>
                      <a:cubicBezTo>
                        <a:pt x="9" y="0"/>
                        <a:pt x="0" y="9"/>
                        <a:pt x="0" y="21"/>
                      </a:cubicBezTo>
                      <a:cubicBezTo>
                        <a:pt x="0" y="21"/>
                        <a:pt x="0" y="21"/>
                        <a:pt x="0" y="21"/>
                      </a:cubicBezTo>
                      <a:cubicBezTo>
                        <a:pt x="0" y="21"/>
                        <a:pt x="0" y="21"/>
                        <a:pt x="0" y="21"/>
                      </a:cubicBezTo>
                      <a:cubicBezTo>
                        <a:pt x="0" y="87"/>
                        <a:pt x="0" y="87"/>
                        <a:pt x="0" y="87"/>
                      </a:cubicBezTo>
                      <a:cubicBezTo>
                        <a:pt x="41" y="87"/>
                        <a:pt x="41" y="87"/>
                        <a:pt x="41" y="87"/>
                      </a:cubicBezTo>
                      <a:cubicBezTo>
                        <a:pt x="41" y="21"/>
                        <a:pt x="41" y="21"/>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grpSp>
          <p:nvGrpSpPr>
            <p:cNvPr id="154" name="Group 153">
              <a:extLst>
                <a:ext uri="{FF2B5EF4-FFF2-40B4-BE49-F238E27FC236}">
                  <a16:creationId xmlns:a16="http://schemas.microsoft.com/office/drawing/2014/main" id="{5E981BAA-8373-CC4E-AC3B-AC260B4724EC}"/>
                </a:ext>
              </a:extLst>
            </p:cNvPr>
            <p:cNvGrpSpPr/>
            <p:nvPr/>
          </p:nvGrpSpPr>
          <p:grpSpPr>
            <a:xfrm>
              <a:off x="4708985" y="3782087"/>
              <a:ext cx="513210" cy="967808"/>
              <a:chOff x="5097463" y="3746500"/>
              <a:chExt cx="569913" cy="1074738"/>
            </a:xfrm>
          </p:grpSpPr>
          <p:sp>
            <p:nvSpPr>
              <p:cNvPr id="195" name="Rectangle 130">
                <a:extLst>
                  <a:ext uri="{FF2B5EF4-FFF2-40B4-BE49-F238E27FC236}">
                    <a16:creationId xmlns:a16="http://schemas.microsoft.com/office/drawing/2014/main" id="{0153C657-73C4-6E4C-BF15-D59F35EE13DA}"/>
                  </a:ext>
                </a:extLst>
              </p:cNvPr>
              <p:cNvSpPr>
                <a:spLocks noChangeArrowheads="1"/>
              </p:cNvSpPr>
              <p:nvPr/>
            </p:nvSpPr>
            <p:spPr bwMode="auto">
              <a:xfrm>
                <a:off x="5097463" y="3746500"/>
                <a:ext cx="569913" cy="1074738"/>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96" name="Rectangle 131">
                <a:extLst>
                  <a:ext uri="{FF2B5EF4-FFF2-40B4-BE49-F238E27FC236}">
                    <a16:creationId xmlns:a16="http://schemas.microsoft.com/office/drawing/2014/main" id="{6EA1C90B-8886-644B-9FF7-E58624C4495C}"/>
                  </a:ext>
                </a:extLst>
              </p:cNvPr>
              <p:cNvSpPr>
                <a:spLocks noChangeArrowheads="1"/>
              </p:cNvSpPr>
              <p:nvPr/>
            </p:nvSpPr>
            <p:spPr bwMode="auto">
              <a:xfrm>
                <a:off x="5191125" y="3875088"/>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97" name="Rectangle 132">
                <a:extLst>
                  <a:ext uri="{FF2B5EF4-FFF2-40B4-BE49-F238E27FC236}">
                    <a16:creationId xmlns:a16="http://schemas.microsoft.com/office/drawing/2014/main" id="{8AAFC6A3-9956-1542-BA81-39C21D31A24B}"/>
                  </a:ext>
                </a:extLst>
              </p:cNvPr>
              <p:cNvSpPr>
                <a:spLocks noChangeArrowheads="1"/>
              </p:cNvSpPr>
              <p:nvPr/>
            </p:nvSpPr>
            <p:spPr bwMode="auto">
              <a:xfrm>
                <a:off x="5326063" y="3875088"/>
                <a:ext cx="112713"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98" name="Rectangle 133">
                <a:extLst>
                  <a:ext uri="{FF2B5EF4-FFF2-40B4-BE49-F238E27FC236}">
                    <a16:creationId xmlns:a16="http://schemas.microsoft.com/office/drawing/2014/main" id="{94DA6E32-9B21-8646-8638-9DEE7291B411}"/>
                  </a:ext>
                </a:extLst>
              </p:cNvPr>
              <p:cNvSpPr>
                <a:spLocks noChangeArrowheads="1"/>
              </p:cNvSpPr>
              <p:nvPr/>
            </p:nvSpPr>
            <p:spPr bwMode="auto">
              <a:xfrm>
                <a:off x="5459413" y="3875088"/>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99" name="Rectangle 134">
                <a:extLst>
                  <a:ext uri="{FF2B5EF4-FFF2-40B4-BE49-F238E27FC236}">
                    <a16:creationId xmlns:a16="http://schemas.microsoft.com/office/drawing/2014/main" id="{2FC9012E-AD07-1846-9805-22E70A106627}"/>
                  </a:ext>
                </a:extLst>
              </p:cNvPr>
              <p:cNvSpPr>
                <a:spLocks noChangeArrowheads="1"/>
              </p:cNvSpPr>
              <p:nvPr/>
            </p:nvSpPr>
            <p:spPr bwMode="auto">
              <a:xfrm>
                <a:off x="5191125" y="3976688"/>
                <a:ext cx="114300"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0" name="Rectangle 135">
                <a:extLst>
                  <a:ext uri="{FF2B5EF4-FFF2-40B4-BE49-F238E27FC236}">
                    <a16:creationId xmlns:a16="http://schemas.microsoft.com/office/drawing/2014/main" id="{57B44E38-88B7-D04C-8C6E-9970976E3401}"/>
                  </a:ext>
                </a:extLst>
              </p:cNvPr>
              <p:cNvSpPr>
                <a:spLocks noChangeArrowheads="1"/>
              </p:cNvSpPr>
              <p:nvPr/>
            </p:nvSpPr>
            <p:spPr bwMode="auto">
              <a:xfrm>
                <a:off x="5326063" y="3976688"/>
                <a:ext cx="112713"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1" name="Rectangle 136">
                <a:extLst>
                  <a:ext uri="{FF2B5EF4-FFF2-40B4-BE49-F238E27FC236}">
                    <a16:creationId xmlns:a16="http://schemas.microsoft.com/office/drawing/2014/main" id="{7F11B710-3B15-F444-8E05-66A420870A20}"/>
                  </a:ext>
                </a:extLst>
              </p:cNvPr>
              <p:cNvSpPr>
                <a:spLocks noChangeArrowheads="1"/>
              </p:cNvSpPr>
              <p:nvPr/>
            </p:nvSpPr>
            <p:spPr bwMode="auto">
              <a:xfrm>
                <a:off x="5459413" y="3976688"/>
                <a:ext cx="114300"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2" name="Rectangle 137">
                <a:extLst>
                  <a:ext uri="{FF2B5EF4-FFF2-40B4-BE49-F238E27FC236}">
                    <a16:creationId xmlns:a16="http://schemas.microsoft.com/office/drawing/2014/main" id="{8A9763CD-2632-4A41-8499-7AA5A01E9796}"/>
                  </a:ext>
                </a:extLst>
              </p:cNvPr>
              <p:cNvSpPr>
                <a:spLocks noChangeArrowheads="1"/>
              </p:cNvSpPr>
              <p:nvPr/>
            </p:nvSpPr>
            <p:spPr bwMode="auto">
              <a:xfrm>
                <a:off x="5191125" y="4078288"/>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3" name="Rectangle 138">
                <a:extLst>
                  <a:ext uri="{FF2B5EF4-FFF2-40B4-BE49-F238E27FC236}">
                    <a16:creationId xmlns:a16="http://schemas.microsoft.com/office/drawing/2014/main" id="{1BAA53AF-87D7-B149-A694-403077AEFEEC}"/>
                  </a:ext>
                </a:extLst>
              </p:cNvPr>
              <p:cNvSpPr>
                <a:spLocks noChangeArrowheads="1"/>
              </p:cNvSpPr>
              <p:nvPr/>
            </p:nvSpPr>
            <p:spPr bwMode="auto">
              <a:xfrm>
                <a:off x="5326063" y="4078288"/>
                <a:ext cx="112713"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4" name="Rectangle 139">
                <a:extLst>
                  <a:ext uri="{FF2B5EF4-FFF2-40B4-BE49-F238E27FC236}">
                    <a16:creationId xmlns:a16="http://schemas.microsoft.com/office/drawing/2014/main" id="{FD9E670C-EE4D-F243-A797-A0CCAC19010A}"/>
                  </a:ext>
                </a:extLst>
              </p:cNvPr>
              <p:cNvSpPr>
                <a:spLocks noChangeArrowheads="1"/>
              </p:cNvSpPr>
              <p:nvPr/>
            </p:nvSpPr>
            <p:spPr bwMode="auto">
              <a:xfrm>
                <a:off x="5459413" y="4078288"/>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5" name="Rectangle 140">
                <a:extLst>
                  <a:ext uri="{FF2B5EF4-FFF2-40B4-BE49-F238E27FC236}">
                    <a16:creationId xmlns:a16="http://schemas.microsoft.com/office/drawing/2014/main" id="{347182F3-E7C6-BB48-8DB5-25D7B97C91C1}"/>
                  </a:ext>
                </a:extLst>
              </p:cNvPr>
              <p:cNvSpPr>
                <a:spLocks noChangeArrowheads="1"/>
              </p:cNvSpPr>
              <p:nvPr/>
            </p:nvSpPr>
            <p:spPr bwMode="auto">
              <a:xfrm>
                <a:off x="5191125" y="4181475"/>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6" name="Rectangle 141">
                <a:extLst>
                  <a:ext uri="{FF2B5EF4-FFF2-40B4-BE49-F238E27FC236}">
                    <a16:creationId xmlns:a16="http://schemas.microsoft.com/office/drawing/2014/main" id="{BFC791E4-89A9-B546-B110-E165BFA0B703}"/>
                  </a:ext>
                </a:extLst>
              </p:cNvPr>
              <p:cNvSpPr>
                <a:spLocks noChangeArrowheads="1"/>
              </p:cNvSpPr>
              <p:nvPr/>
            </p:nvSpPr>
            <p:spPr bwMode="auto">
              <a:xfrm>
                <a:off x="5326063" y="4181475"/>
                <a:ext cx="112713"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7" name="Rectangle 142">
                <a:extLst>
                  <a:ext uri="{FF2B5EF4-FFF2-40B4-BE49-F238E27FC236}">
                    <a16:creationId xmlns:a16="http://schemas.microsoft.com/office/drawing/2014/main" id="{16DA7FFA-FB92-3E44-8EA6-DD2D503AE016}"/>
                  </a:ext>
                </a:extLst>
              </p:cNvPr>
              <p:cNvSpPr>
                <a:spLocks noChangeArrowheads="1"/>
              </p:cNvSpPr>
              <p:nvPr/>
            </p:nvSpPr>
            <p:spPr bwMode="auto">
              <a:xfrm>
                <a:off x="5459413" y="4181475"/>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8" name="Rectangle 143">
                <a:extLst>
                  <a:ext uri="{FF2B5EF4-FFF2-40B4-BE49-F238E27FC236}">
                    <a16:creationId xmlns:a16="http://schemas.microsoft.com/office/drawing/2014/main" id="{5BAFEA8D-B051-3948-B805-F6C32363B32E}"/>
                  </a:ext>
                </a:extLst>
              </p:cNvPr>
              <p:cNvSpPr>
                <a:spLocks noChangeArrowheads="1"/>
              </p:cNvSpPr>
              <p:nvPr/>
            </p:nvSpPr>
            <p:spPr bwMode="auto">
              <a:xfrm>
                <a:off x="5191125" y="4283075"/>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09" name="Rectangle 144">
                <a:extLst>
                  <a:ext uri="{FF2B5EF4-FFF2-40B4-BE49-F238E27FC236}">
                    <a16:creationId xmlns:a16="http://schemas.microsoft.com/office/drawing/2014/main" id="{C3C8CA49-2CD7-384E-B0E2-63886C605479}"/>
                  </a:ext>
                </a:extLst>
              </p:cNvPr>
              <p:cNvSpPr>
                <a:spLocks noChangeArrowheads="1"/>
              </p:cNvSpPr>
              <p:nvPr/>
            </p:nvSpPr>
            <p:spPr bwMode="auto">
              <a:xfrm>
                <a:off x="5326063" y="4283075"/>
                <a:ext cx="112713"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10" name="Rectangle 145">
                <a:extLst>
                  <a:ext uri="{FF2B5EF4-FFF2-40B4-BE49-F238E27FC236}">
                    <a16:creationId xmlns:a16="http://schemas.microsoft.com/office/drawing/2014/main" id="{EE0AB814-A6B0-B74F-A328-135AE543D49F}"/>
                  </a:ext>
                </a:extLst>
              </p:cNvPr>
              <p:cNvSpPr>
                <a:spLocks noChangeArrowheads="1"/>
              </p:cNvSpPr>
              <p:nvPr/>
            </p:nvSpPr>
            <p:spPr bwMode="auto">
              <a:xfrm>
                <a:off x="5459413" y="4283075"/>
                <a:ext cx="114300" cy="57150"/>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11" name="Rectangle 146">
                <a:extLst>
                  <a:ext uri="{FF2B5EF4-FFF2-40B4-BE49-F238E27FC236}">
                    <a16:creationId xmlns:a16="http://schemas.microsoft.com/office/drawing/2014/main" id="{5869FD28-FEA8-CC46-B423-143912A91D87}"/>
                  </a:ext>
                </a:extLst>
              </p:cNvPr>
              <p:cNvSpPr>
                <a:spLocks noChangeArrowheads="1"/>
              </p:cNvSpPr>
              <p:nvPr/>
            </p:nvSpPr>
            <p:spPr bwMode="auto">
              <a:xfrm>
                <a:off x="5191125" y="4386263"/>
                <a:ext cx="114300"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12" name="Rectangle 147">
                <a:extLst>
                  <a:ext uri="{FF2B5EF4-FFF2-40B4-BE49-F238E27FC236}">
                    <a16:creationId xmlns:a16="http://schemas.microsoft.com/office/drawing/2014/main" id="{711A88BC-5DFB-BB47-BDBE-4FDDAB9A535E}"/>
                  </a:ext>
                </a:extLst>
              </p:cNvPr>
              <p:cNvSpPr>
                <a:spLocks noChangeArrowheads="1"/>
              </p:cNvSpPr>
              <p:nvPr/>
            </p:nvSpPr>
            <p:spPr bwMode="auto">
              <a:xfrm>
                <a:off x="5326063" y="4386263"/>
                <a:ext cx="112713"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213" name="Rectangle 148">
                <a:extLst>
                  <a:ext uri="{FF2B5EF4-FFF2-40B4-BE49-F238E27FC236}">
                    <a16:creationId xmlns:a16="http://schemas.microsoft.com/office/drawing/2014/main" id="{306BEAE7-10FA-5841-9FF5-605A62D248AA}"/>
                  </a:ext>
                </a:extLst>
              </p:cNvPr>
              <p:cNvSpPr>
                <a:spLocks noChangeArrowheads="1"/>
              </p:cNvSpPr>
              <p:nvPr/>
            </p:nvSpPr>
            <p:spPr bwMode="auto">
              <a:xfrm>
                <a:off x="5459413" y="4386263"/>
                <a:ext cx="114300" cy="55563"/>
              </a:xfrm>
              <a:prstGeom prst="rect">
                <a:avLst/>
              </a:prstGeom>
              <a:solidFill>
                <a:schemeClr val="accent2">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55" name="Group 154">
              <a:extLst>
                <a:ext uri="{FF2B5EF4-FFF2-40B4-BE49-F238E27FC236}">
                  <a16:creationId xmlns:a16="http://schemas.microsoft.com/office/drawing/2014/main" id="{2445A85B-FAB4-9440-B7AE-77D25D980BA3}"/>
                </a:ext>
              </a:extLst>
            </p:cNvPr>
            <p:cNvGrpSpPr/>
            <p:nvPr/>
          </p:nvGrpSpPr>
          <p:grpSpPr>
            <a:xfrm>
              <a:off x="5188441" y="3779228"/>
              <a:ext cx="513210" cy="970667"/>
              <a:chOff x="327025" y="3622675"/>
              <a:chExt cx="569913" cy="1077913"/>
            </a:xfrm>
          </p:grpSpPr>
          <p:sp>
            <p:nvSpPr>
              <p:cNvPr id="190" name="Freeform 149">
                <a:extLst>
                  <a:ext uri="{FF2B5EF4-FFF2-40B4-BE49-F238E27FC236}">
                    <a16:creationId xmlns:a16="http://schemas.microsoft.com/office/drawing/2014/main" id="{278B5D14-1310-CF4F-A5BD-9E0E490315F6}"/>
                  </a:ext>
                </a:extLst>
              </p:cNvPr>
              <p:cNvSpPr>
                <a:spLocks/>
              </p:cNvSpPr>
              <p:nvPr/>
            </p:nvSpPr>
            <p:spPr bwMode="auto">
              <a:xfrm>
                <a:off x="327025" y="3622675"/>
                <a:ext cx="569913" cy="1077913"/>
              </a:xfrm>
              <a:custGeom>
                <a:avLst/>
                <a:gdLst>
                  <a:gd name="T0" fmla="*/ 359 w 359"/>
                  <a:gd name="T1" fmla="*/ 679 h 679"/>
                  <a:gd name="T2" fmla="*/ 0 w 359"/>
                  <a:gd name="T3" fmla="*/ 679 h 679"/>
                  <a:gd name="T4" fmla="*/ 0 w 359"/>
                  <a:gd name="T5" fmla="*/ 242 h 679"/>
                  <a:gd name="T6" fmla="*/ 179 w 359"/>
                  <a:gd name="T7" fmla="*/ 0 h 679"/>
                  <a:gd name="T8" fmla="*/ 359 w 359"/>
                  <a:gd name="T9" fmla="*/ 242 h 679"/>
                  <a:gd name="T10" fmla="*/ 359 w 359"/>
                  <a:gd name="T11" fmla="*/ 679 h 679"/>
                </a:gdLst>
                <a:ahLst/>
                <a:cxnLst>
                  <a:cxn ang="0">
                    <a:pos x="T0" y="T1"/>
                  </a:cxn>
                  <a:cxn ang="0">
                    <a:pos x="T2" y="T3"/>
                  </a:cxn>
                  <a:cxn ang="0">
                    <a:pos x="T4" y="T5"/>
                  </a:cxn>
                  <a:cxn ang="0">
                    <a:pos x="T6" y="T7"/>
                  </a:cxn>
                  <a:cxn ang="0">
                    <a:pos x="T8" y="T9"/>
                  </a:cxn>
                  <a:cxn ang="0">
                    <a:pos x="T10" y="T11"/>
                  </a:cxn>
                </a:cxnLst>
                <a:rect l="0" t="0" r="r" b="b"/>
                <a:pathLst>
                  <a:path w="359" h="679">
                    <a:moveTo>
                      <a:pt x="359" y="679"/>
                    </a:moveTo>
                    <a:lnTo>
                      <a:pt x="0" y="679"/>
                    </a:lnTo>
                    <a:lnTo>
                      <a:pt x="0" y="242"/>
                    </a:lnTo>
                    <a:lnTo>
                      <a:pt x="179" y="0"/>
                    </a:lnTo>
                    <a:lnTo>
                      <a:pt x="359" y="242"/>
                    </a:lnTo>
                    <a:lnTo>
                      <a:pt x="359" y="679"/>
                    </a:lnTo>
                    <a:close/>
                  </a:path>
                </a:pathLst>
              </a:custGeom>
              <a:solidFill>
                <a:srgbClr val="8AC64F"/>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91" name="Rectangle 150">
                <a:extLst>
                  <a:ext uri="{FF2B5EF4-FFF2-40B4-BE49-F238E27FC236}">
                    <a16:creationId xmlns:a16="http://schemas.microsoft.com/office/drawing/2014/main" id="{9110E340-E274-0F46-88E8-2F0874EC81C1}"/>
                  </a:ext>
                </a:extLst>
              </p:cNvPr>
              <p:cNvSpPr>
                <a:spLocks noChangeArrowheads="1"/>
              </p:cNvSpPr>
              <p:nvPr/>
            </p:nvSpPr>
            <p:spPr bwMode="auto">
              <a:xfrm>
                <a:off x="503238" y="3911600"/>
                <a:ext cx="76200" cy="166688"/>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92" name="Rectangle 151">
                <a:extLst>
                  <a:ext uri="{FF2B5EF4-FFF2-40B4-BE49-F238E27FC236}">
                    <a16:creationId xmlns:a16="http://schemas.microsoft.com/office/drawing/2014/main" id="{0C08B92A-25DE-9743-A4E0-A78473B327C7}"/>
                  </a:ext>
                </a:extLst>
              </p:cNvPr>
              <p:cNvSpPr>
                <a:spLocks noChangeArrowheads="1"/>
              </p:cNvSpPr>
              <p:nvPr/>
            </p:nvSpPr>
            <p:spPr bwMode="auto">
              <a:xfrm>
                <a:off x="622300" y="3911600"/>
                <a:ext cx="76200" cy="166688"/>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93" name="Rectangle 152">
                <a:extLst>
                  <a:ext uri="{FF2B5EF4-FFF2-40B4-BE49-F238E27FC236}">
                    <a16:creationId xmlns:a16="http://schemas.microsoft.com/office/drawing/2014/main" id="{4B65B364-6245-944E-BD9D-297DF73F6CA3}"/>
                  </a:ext>
                </a:extLst>
              </p:cNvPr>
              <p:cNvSpPr>
                <a:spLocks noChangeArrowheads="1"/>
              </p:cNvSpPr>
              <p:nvPr/>
            </p:nvSpPr>
            <p:spPr bwMode="auto">
              <a:xfrm>
                <a:off x="503238" y="4133850"/>
                <a:ext cx="76200" cy="166688"/>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94" name="Rectangle 153">
                <a:extLst>
                  <a:ext uri="{FF2B5EF4-FFF2-40B4-BE49-F238E27FC236}">
                    <a16:creationId xmlns:a16="http://schemas.microsoft.com/office/drawing/2014/main" id="{9F46C841-71D6-5448-B6C0-5DFAB2632593}"/>
                  </a:ext>
                </a:extLst>
              </p:cNvPr>
              <p:cNvSpPr>
                <a:spLocks noChangeArrowheads="1"/>
              </p:cNvSpPr>
              <p:nvPr/>
            </p:nvSpPr>
            <p:spPr bwMode="auto">
              <a:xfrm>
                <a:off x="622300" y="4133850"/>
                <a:ext cx="76200" cy="166688"/>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56" name="Group 155">
              <a:extLst>
                <a:ext uri="{FF2B5EF4-FFF2-40B4-BE49-F238E27FC236}">
                  <a16:creationId xmlns:a16="http://schemas.microsoft.com/office/drawing/2014/main" id="{328970A9-CF4E-2043-9C09-C6AA1C8568E0}"/>
                </a:ext>
              </a:extLst>
            </p:cNvPr>
            <p:cNvGrpSpPr/>
            <p:nvPr/>
          </p:nvGrpSpPr>
          <p:grpSpPr>
            <a:xfrm>
              <a:off x="5580752" y="3633224"/>
              <a:ext cx="579314" cy="1116671"/>
              <a:chOff x="6993464" y="4005950"/>
              <a:chExt cx="569913" cy="1098550"/>
            </a:xfrm>
          </p:grpSpPr>
          <p:sp>
            <p:nvSpPr>
              <p:cNvPr id="177" name="Freeform 154">
                <a:extLst>
                  <a:ext uri="{FF2B5EF4-FFF2-40B4-BE49-F238E27FC236}">
                    <a16:creationId xmlns:a16="http://schemas.microsoft.com/office/drawing/2014/main" id="{B20F91D5-D395-0841-B09D-086AC87459AE}"/>
                  </a:ext>
                </a:extLst>
              </p:cNvPr>
              <p:cNvSpPr>
                <a:spLocks/>
              </p:cNvSpPr>
              <p:nvPr/>
            </p:nvSpPr>
            <p:spPr bwMode="auto">
              <a:xfrm>
                <a:off x="6993464" y="4005950"/>
                <a:ext cx="569913" cy="1098550"/>
              </a:xfrm>
              <a:custGeom>
                <a:avLst/>
                <a:gdLst>
                  <a:gd name="T0" fmla="*/ 307 w 359"/>
                  <a:gd name="T1" fmla="*/ 134 h 692"/>
                  <a:gd name="T2" fmla="*/ 307 w 359"/>
                  <a:gd name="T3" fmla="*/ 63 h 692"/>
                  <a:gd name="T4" fmla="*/ 275 w 359"/>
                  <a:gd name="T5" fmla="*/ 63 h 692"/>
                  <a:gd name="T6" fmla="*/ 275 w 359"/>
                  <a:gd name="T7" fmla="*/ 0 h 692"/>
                  <a:gd name="T8" fmla="*/ 66 w 359"/>
                  <a:gd name="T9" fmla="*/ 0 h 692"/>
                  <a:gd name="T10" fmla="*/ 66 w 359"/>
                  <a:gd name="T11" fmla="*/ 63 h 692"/>
                  <a:gd name="T12" fmla="*/ 33 w 359"/>
                  <a:gd name="T13" fmla="*/ 63 h 692"/>
                  <a:gd name="T14" fmla="*/ 33 w 359"/>
                  <a:gd name="T15" fmla="*/ 134 h 692"/>
                  <a:gd name="T16" fmla="*/ 0 w 359"/>
                  <a:gd name="T17" fmla="*/ 134 h 692"/>
                  <a:gd name="T18" fmla="*/ 0 w 359"/>
                  <a:gd name="T19" fmla="*/ 692 h 692"/>
                  <a:gd name="T20" fmla="*/ 359 w 359"/>
                  <a:gd name="T21" fmla="*/ 692 h 692"/>
                  <a:gd name="T22" fmla="*/ 359 w 359"/>
                  <a:gd name="T23" fmla="*/ 134 h 692"/>
                  <a:gd name="T24" fmla="*/ 307 w 359"/>
                  <a:gd name="T25" fmla="*/ 134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9" h="692">
                    <a:moveTo>
                      <a:pt x="307" y="134"/>
                    </a:moveTo>
                    <a:lnTo>
                      <a:pt x="307" y="63"/>
                    </a:lnTo>
                    <a:lnTo>
                      <a:pt x="275" y="63"/>
                    </a:lnTo>
                    <a:lnTo>
                      <a:pt x="275" y="0"/>
                    </a:lnTo>
                    <a:lnTo>
                      <a:pt x="66" y="0"/>
                    </a:lnTo>
                    <a:lnTo>
                      <a:pt x="66" y="63"/>
                    </a:lnTo>
                    <a:lnTo>
                      <a:pt x="33" y="63"/>
                    </a:lnTo>
                    <a:lnTo>
                      <a:pt x="33" y="134"/>
                    </a:lnTo>
                    <a:lnTo>
                      <a:pt x="0" y="134"/>
                    </a:lnTo>
                    <a:lnTo>
                      <a:pt x="0" y="692"/>
                    </a:lnTo>
                    <a:lnTo>
                      <a:pt x="359" y="692"/>
                    </a:lnTo>
                    <a:lnTo>
                      <a:pt x="359" y="134"/>
                    </a:lnTo>
                    <a:lnTo>
                      <a:pt x="307" y="134"/>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78" name="Rectangle 155">
                <a:extLst>
                  <a:ext uri="{FF2B5EF4-FFF2-40B4-BE49-F238E27FC236}">
                    <a16:creationId xmlns:a16="http://schemas.microsoft.com/office/drawing/2014/main" id="{A19F8F63-3655-0F45-AE12-31B84036E817}"/>
                  </a:ext>
                </a:extLst>
              </p:cNvPr>
              <p:cNvSpPr>
                <a:spLocks noChangeArrowheads="1"/>
              </p:cNvSpPr>
              <p:nvPr/>
            </p:nvSpPr>
            <p:spPr bwMode="auto">
              <a:xfrm>
                <a:off x="7093476" y="4285350"/>
                <a:ext cx="55563" cy="131763"/>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79" name="Rectangle 156">
                <a:extLst>
                  <a:ext uri="{FF2B5EF4-FFF2-40B4-BE49-F238E27FC236}">
                    <a16:creationId xmlns:a16="http://schemas.microsoft.com/office/drawing/2014/main" id="{A7309BD0-3520-034F-9CE7-10382675B1BB}"/>
                  </a:ext>
                </a:extLst>
              </p:cNvPr>
              <p:cNvSpPr>
                <a:spLocks noChangeArrowheads="1"/>
              </p:cNvSpPr>
              <p:nvPr/>
            </p:nvSpPr>
            <p:spPr bwMode="auto">
              <a:xfrm>
                <a:off x="7198251" y="4285350"/>
                <a:ext cx="55563" cy="131763"/>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0" name="Rectangle 157">
                <a:extLst>
                  <a:ext uri="{FF2B5EF4-FFF2-40B4-BE49-F238E27FC236}">
                    <a16:creationId xmlns:a16="http://schemas.microsoft.com/office/drawing/2014/main" id="{C9EFD9CE-1628-F445-A1CF-B14456DA43BA}"/>
                  </a:ext>
                </a:extLst>
              </p:cNvPr>
              <p:cNvSpPr>
                <a:spLocks noChangeArrowheads="1"/>
              </p:cNvSpPr>
              <p:nvPr/>
            </p:nvSpPr>
            <p:spPr bwMode="auto">
              <a:xfrm>
                <a:off x="7303026" y="4285350"/>
                <a:ext cx="55563" cy="131763"/>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1" name="Rectangle 158">
                <a:extLst>
                  <a:ext uri="{FF2B5EF4-FFF2-40B4-BE49-F238E27FC236}">
                    <a16:creationId xmlns:a16="http://schemas.microsoft.com/office/drawing/2014/main" id="{326F830B-2D3E-8845-9663-1F574E4BBE97}"/>
                  </a:ext>
                </a:extLst>
              </p:cNvPr>
              <p:cNvSpPr>
                <a:spLocks noChangeArrowheads="1"/>
              </p:cNvSpPr>
              <p:nvPr/>
            </p:nvSpPr>
            <p:spPr bwMode="auto">
              <a:xfrm>
                <a:off x="7409389" y="4285350"/>
                <a:ext cx="57150" cy="131763"/>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2" name="Rectangle 159">
                <a:extLst>
                  <a:ext uri="{FF2B5EF4-FFF2-40B4-BE49-F238E27FC236}">
                    <a16:creationId xmlns:a16="http://schemas.microsoft.com/office/drawing/2014/main" id="{AA5BA952-A3E8-1446-8AC7-322659EBA374}"/>
                  </a:ext>
                </a:extLst>
              </p:cNvPr>
              <p:cNvSpPr>
                <a:spLocks noChangeArrowheads="1"/>
              </p:cNvSpPr>
              <p:nvPr/>
            </p:nvSpPr>
            <p:spPr bwMode="auto">
              <a:xfrm>
                <a:off x="7093476" y="4466325"/>
                <a:ext cx="55563" cy="133350"/>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3" name="Rectangle 160">
                <a:extLst>
                  <a:ext uri="{FF2B5EF4-FFF2-40B4-BE49-F238E27FC236}">
                    <a16:creationId xmlns:a16="http://schemas.microsoft.com/office/drawing/2014/main" id="{D55A0017-289C-9E42-AF7B-B9FF64B5A933}"/>
                  </a:ext>
                </a:extLst>
              </p:cNvPr>
              <p:cNvSpPr>
                <a:spLocks noChangeArrowheads="1"/>
              </p:cNvSpPr>
              <p:nvPr/>
            </p:nvSpPr>
            <p:spPr bwMode="auto">
              <a:xfrm>
                <a:off x="7198251" y="4466325"/>
                <a:ext cx="55563" cy="133350"/>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4" name="Rectangle 161">
                <a:extLst>
                  <a:ext uri="{FF2B5EF4-FFF2-40B4-BE49-F238E27FC236}">
                    <a16:creationId xmlns:a16="http://schemas.microsoft.com/office/drawing/2014/main" id="{6E8E7111-13EA-9D45-BBA6-9DD566C32986}"/>
                  </a:ext>
                </a:extLst>
              </p:cNvPr>
              <p:cNvSpPr>
                <a:spLocks noChangeArrowheads="1"/>
              </p:cNvSpPr>
              <p:nvPr/>
            </p:nvSpPr>
            <p:spPr bwMode="auto">
              <a:xfrm>
                <a:off x="7303026" y="4466325"/>
                <a:ext cx="55563" cy="133350"/>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5" name="Rectangle 162">
                <a:extLst>
                  <a:ext uri="{FF2B5EF4-FFF2-40B4-BE49-F238E27FC236}">
                    <a16:creationId xmlns:a16="http://schemas.microsoft.com/office/drawing/2014/main" id="{6BAF787F-47AF-5E45-98FF-0931970540FE}"/>
                  </a:ext>
                </a:extLst>
              </p:cNvPr>
              <p:cNvSpPr>
                <a:spLocks noChangeArrowheads="1"/>
              </p:cNvSpPr>
              <p:nvPr/>
            </p:nvSpPr>
            <p:spPr bwMode="auto">
              <a:xfrm>
                <a:off x="7409389" y="4466325"/>
                <a:ext cx="57150" cy="133350"/>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6" name="Rectangle 163">
                <a:extLst>
                  <a:ext uri="{FF2B5EF4-FFF2-40B4-BE49-F238E27FC236}">
                    <a16:creationId xmlns:a16="http://schemas.microsoft.com/office/drawing/2014/main" id="{ACC8965E-E512-8945-90CC-2BA22CA2A07C}"/>
                  </a:ext>
                </a:extLst>
              </p:cNvPr>
              <p:cNvSpPr>
                <a:spLocks noChangeArrowheads="1"/>
              </p:cNvSpPr>
              <p:nvPr/>
            </p:nvSpPr>
            <p:spPr bwMode="auto">
              <a:xfrm>
                <a:off x="7093476" y="4648887"/>
                <a:ext cx="55563" cy="133350"/>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7" name="Rectangle 164">
                <a:extLst>
                  <a:ext uri="{FF2B5EF4-FFF2-40B4-BE49-F238E27FC236}">
                    <a16:creationId xmlns:a16="http://schemas.microsoft.com/office/drawing/2014/main" id="{5D4E2326-D561-1244-A369-BF76626935E9}"/>
                  </a:ext>
                </a:extLst>
              </p:cNvPr>
              <p:cNvSpPr>
                <a:spLocks noChangeArrowheads="1"/>
              </p:cNvSpPr>
              <p:nvPr/>
            </p:nvSpPr>
            <p:spPr bwMode="auto">
              <a:xfrm>
                <a:off x="7198251" y="4648887"/>
                <a:ext cx="55563" cy="133350"/>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8" name="Rectangle 165">
                <a:extLst>
                  <a:ext uri="{FF2B5EF4-FFF2-40B4-BE49-F238E27FC236}">
                    <a16:creationId xmlns:a16="http://schemas.microsoft.com/office/drawing/2014/main" id="{DECD8A50-BCC5-6E45-9116-1A894AB3AAB0}"/>
                  </a:ext>
                </a:extLst>
              </p:cNvPr>
              <p:cNvSpPr>
                <a:spLocks noChangeArrowheads="1"/>
              </p:cNvSpPr>
              <p:nvPr/>
            </p:nvSpPr>
            <p:spPr bwMode="auto">
              <a:xfrm>
                <a:off x="7303026" y="4648887"/>
                <a:ext cx="55563" cy="133350"/>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89" name="Rectangle 166">
                <a:extLst>
                  <a:ext uri="{FF2B5EF4-FFF2-40B4-BE49-F238E27FC236}">
                    <a16:creationId xmlns:a16="http://schemas.microsoft.com/office/drawing/2014/main" id="{2A63D131-CBDA-924D-AC6B-CFCBE67F6242}"/>
                  </a:ext>
                </a:extLst>
              </p:cNvPr>
              <p:cNvSpPr>
                <a:spLocks noChangeArrowheads="1"/>
              </p:cNvSpPr>
              <p:nvPr/>
            </p:nvSpPr>
            <p:spPr bwMode="auto">
              <a:xfrm>
                <a:off x="7409389" y="4648887"/>
                <a:ext cx="57150" cy="133350"/>
              </a:xfrm>
              <a:prstGeom prst="rect">
                <a:avLst/>
              </a:pr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grpSp>
          <p:nvGrpSpPr>
            <p:cNvPr id="157" name="Group 156">
              <a:extLst>
                <a:ext uri="{FF2B5EF4-FFF2-40B4-BE49-F238E27FC236}">
                  <a16:creationId xmlns:a16="http://schemas.microsoft.com/office/drawing/2014/main" id="{1939DC8F-8ACE-914F-B90D-9012795E94F8}"/>
                </a:ext>
              </a:extLst>
            </p:cNvPr>
            <p:cNvGrpSpPr/>
            <p:nvPr/>
          </p:nvGrpSpPr>
          <p:grpSpPr>
            <a:xfrm>
              <a:off x="3713187" y="3663434"/>
              <a:ext cx="510351" cy="1086461"/>
              <a:chOff x="2600325" y="3494088"/>
              <a:chExt cx="566738" cy="1206500"/>
            </a:xfrm>
          </p:grpSpPr>
          <p:sp>
            <p:nvSpPr>
              <p:cNvPr id="170" name="Freeform 114">
                <a:extLst>
                  <a:ext uri="{FF2B5EF4-FFF2-40B4-BE49-F238E27FC236}">
                    <a16:creationId xmlns:a16="http://schemas.microsoft.com/office/drawing/2014/main" id="{F8A3BC3A-1C3B-D44E-B4C7-09ECAC53C8D1}"/>
                  </a:ext>
                </a:extLst>
              </p:cNvPr>
              <p:cNvSpPr>
                <a:spLocks/>
              </p:cNvSpPr>
              <p:nvPr/>
            </p:nvSpPr>
            <p:spPr bwMode="auto">
              <a:xfrm>
                <a:off x="2600325" y="3494088"/>
                <a:ext cx="566738" cy="1206500"/>
              </a:xfrm>
              <a:custGeom>
                <a:avLst/>
                <a:gdLst>
                  <a:gd name="T0" fmla="*/ 357 w 357"/>
                  <a:gd name="T1" fmla="*/ 760 h 760"/>
                  <a:gd name="T2" fmla="*/ 0 w 357"/>
                  <a:gd name="T3" fmla="*/ 760 h 760"/>
                  <a:gd name="T4" fmla="*/ 0 w 357"/>
                  <a:gd name="T5" fmla="*/ 241 h 760"/>
                  <a:gd name="T6" fmla="*/ 179 w 357"/>
                  <a:gd name="T7" fmla="*/ 0 h 760"/>
                  <a:gd name="T8" fmla="*/ 357 w 357"/>
                  <a:gd name="T9" fmla="*/ 241 h 760"/>
                  <a:gd name="T10" fmla="*/ 357 w 357"/>
                  <a:gd name="T11" fmla="*/ 760 h 760"/>
                </a:gdLst>
                <a:ahLst/>
                <a:cxnLst>
                  <a:cxn ang="0">
                    <a:pos x="T0" y="T1"/>
                  </a:cxn>
                  <a:cxn ang="0">
                    <a:pos x="T2" y="T3"/>
                  </a:cxn>
                  <a:cxn ang="0">
                    <a:pos x="T4" y="T5"/>
                  </a:cxn>
                  <a:cxn ang="0">
                    <a:pos x="T6" y="T7"/>
                  </a:cxn>
                  <a:cxn ang="0">
                    <a:pos x="T8" y="T9"/>
                  </a:cxn>
                  <a:cxn ang="0">
                    <a:pos x="T10" y="T11"/>
                  </a:cxn>
                </a:cxnLst>
                <a:rect l="0" t="0" r="r" b="b"/>
                <a:pathLst>
                  <a:path w="357" h="760">
                    <a:moveTo>
                      <a:pt x="357" y="760"/>
                    </a:moveTo>
                    <a:lnTo>
                      <a:pt x="0" y="760"/>
                    </a:lnTo>
                    <a:lnTo>
                      <a:pt x="0" y="241"/>
                    </a:lnTo>
                    <a:lnTo>
                      <a:pt x="179" y="0"/>
                    </a:lnTo>
                    <a:lnTo>
                      <a:pt x="357" y="241"/>
                    </a:lnTo>
                    <a:lnTo>
                      <a:pt x="357" y="760"/>
                    </a:lnTo>
                    <a:close/>
                  </a:path>
                </a:pathLst>
              </a:custGeom>
              <a:solidFill>
                <a:srgbClr val="6ABFA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71" name="Rectangle 115">
                <a:extLst>
                  <a:ext uri="{FF2B5EF4-FFF2-40B4-BE49-F238E27FC236}">
                    <a16:creationId xmlns:a16="http://schemas.microsoft.com/office/drawing/2014/main" id="{2DE62AD6-9494-824C-B283-4807385D1D1B}"/>
                  </a:ext>
                </a:extLst>
              </p:cNvPr>
              <p:cNvSpPr>
                <a:spLocks noChangeArrowheads="1"/>
              </p:cNvSpPr>
              <p:nvPr/>
            </p:nvSpPr>
            <p:spPr bwMode="auto">
              <a:xfrm>
                <a:off x="2676525" y="4259263"/>
                <a:ext cx="414338" cy="215900"/>
              </a:xfrm>
              <a:prstGeom prst="rect">
                <a:avLst/>
              </a:prstGeom>
              <a:solidFill>
                <a:schemeClr val="bg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72" name="Freeform 116">
                <a:extLst>
                  <a:ext uri="{FF2B5EF4-FFF2-40B4-BE49-F238E27FC236}">
                    <a16:creationId xmlns:a16="http://schemas.microsoft.com/office/drawing/2014/main" id="{34097382-AFAF-3F4C-B499-29C3D7F34ED6}"/>
                  </a:ext>
                </a:extLst>
              </p:cNvPr>
              <p:cNvSpPr>
                <a:spLocks/>
              </p:cNvSpPr>
              <p:nvPr/>
            </p:nvSpPr>
            <p:spPr bwMode="auto">
              <a:xfrm>
                <a:off x="2628900" y="4148138"/>
                <a:ext cx="511175" cy="149225"/>
              </a:xfrm>
              <a:custGeom>
                <a:avLst/>
                <a:gdLst>
                  <a:gd name="T0" fmla="*/ 253 w 253"/>
                  <a:gd name="T1" fmla="*/ 61 h 74"/>
                  <a:gd name="T2" fmla="*/ 238 w 253"/>
                  <a:gd name="T3" fmla="*/ 0 h 74"/>
                  <a:gd name="T4" fmla="*/ 154 w 253"/>
                  <a:gd name="T5" fmla="*/ 0 h 74"/>
                  <a:gd name="T6" fmla="*/ 102 w 253"/>
                  <a:gd name="T7" fmla="*/ 0 h 74"/>
                  <a:gd name="T8" fmla="*/ 15 w 253"/>
                  <a:gd name="T9" fmla="*/ 0 h 74"/>
                  <a:gd name="T10" fmla="*/ 1 w 253"/>
                  <a:gd name="T11" fmla="*/ 61 h 74"/>
                  <a:gd name="T12" fmla="*/ 0 w 253"/>
                  <a:gd name="T13" fmla="*/ 64 h 74"/>
                  <a:gd name="T14" fmla="*/ 10 w 253"/>
                  <a:gd name="T15" fmla="*/ 74 h 74"/>
                  <a:gd name="T16" fmla="*/ 20 w 253"/>
                  <a:gd name="T17" fmla="*/ 64 h 74"/>
                  <a:gd name="T18" fmla="*/ 29 w 253"/>
                  <a:gd name="T19" fmla="*/ 74 h 74"/>
                  <a:gd name="T20" fmla="*/ 39 w 253"/>
                  <a:gd name="T21" fmla="*/ 64 h 74"/>
                  <a:gd name="T22" fmla="*/ 49 w 253"/>
                  <a:gd name="T23" fmla="*/ 74 h 74"/>
                  <a:gd name="T24" fmla="*/ 59 w 253"/>
                  <a:gd name="T25" fmla="*/ 64 h 74"/>
                  <a:gd name="T26" fmla="*/ 68 w 253"/>
                  <a:gd name="T27" fmla="*/ 74 h 74"/>
                  <a:gd name="T28" fmla="*/ 78 w 253"/>
                  <a:gd name="T29" fmla="*/ 64 h 74"/>
                  <a:gd name="T30" fmla="*/ 88 w 253"/>
                  <a:gd name="T31" fmla="*/ 74 h 74"/>
                  <a:gd name="T32" fmla="*/ 98 w 253"/>
                  <a:gd name="T33" fmla="*/ 64 h 74"/>
                  <a:gd name="T34" fmla="*/ 107 w 253"/>
                  <a:gd name="T35" fmla="*/ 74 h 74"/>
                  <a:gd name="T36" fmla="*/ 117 w 253"/>
                  <a:gd name="T37" fmla="*/ 64 h 74"/>
                  <a:gd name="T38" fmla="*/ 127 w 253"/>
                  <a:gd name="T39" fmla="*/ 74 h 74"/>
                  <a:gd name="T40" fmla="*/ 136 w 253"/>
                  <a:gd name="T41" fmla="*/ 64 h 74"/>
                  <a:gd name="T42" fmla="*/ 146 w 253"/>
                  <a:gd name="T43" fmla="*/ 74 h 74"/>
                  <a:gd name="T44" fmla="*/ 156 w 253"/>
                  <a:gd name="T45" fmla="*/ 64 h 74"/>
                  <a:gd name="T46" fmla="*/ 166 w 253"/>
                  <a:gd name="T47" fmla="*/ 74 h 74"/>
                  <a:gd name="T48" fmla="*/ 175 w 253"/>
                  <a:gd name="T49" fmla="*/ 64 h 74"/>
                  <a:gd name="T50" fmla="*/ 185 w 253"/>
                  <a:gd name="T51" fmla="*/ 74 h 74"/>
                  <a:gd name="T52" fmla="*/ 195 w 253"/>
                  <a:gd name="T53" fmla="*/ 64 h 74"/>
                  <a:gd name="T54" fmla="*/ 205 w 253"/>
                  <a:gd name="T55" fmla="*/ 74 h 74"/>
                  <a:gd name="T56" fmla="*/ 214 w 253"/>
                  <a:gd name="T57" fmla="*/ 64 h 74"/>
                  <a:gd name="T58" fmla="*/ 224 w 253"/>
                  <a:gd name="T59" fmla="*/ 74 h 74"/>
                  <a:gd name="T60" fmla="*/ 234 w 253"/>
                  <a:gd name="T61" fmla="*/ 64 h 74"/>
                  <a:gd name="T62" fmla="*/ 244 w 253"/>
                  <a:gd name="T63" fmla="*/ 74 h 74"/>
                  <a:gd name="T64" fmla="*/ 253 w 253"/>
                  <a:gd name="T65" fmla="*/ 64 h 74"/>
                  <a:gd name="T66" fmla="*/ 253 w 253"/>
                  <a:gd name="T67"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3" h="74">
                    <a:moveTo>
                      <a:pt x="253" y="61"/>
                    </a:moveTo>
                    <a:cubicBezTo>
                      <a:pt x="238" y="0"/>
                      <a:pt x="238" y="0"/>
                      <a:pt x="238" y="0"/>
                    </a:cubicBezTo>
                    <a:cubicBezTo>
                      <a:pt x="154" y="0"/>
                      <a:pt x="154" y="0"/>
                      <a:pt x="154" y="0"/>
                    </a:cubicBezTo>
                    <a:cubicBezTo>
                      <a:pt x="102" y="0"/>
                      <a:pt x="102" y="0"/>
                      <a:pt x="102" y="0"/>
                    </a:cubicBezTo>
                    <a:cubicBezTo>
                      <a:pt x="15" y="0"/>
                      <a:pt x="15" y="0"/>
                      <a:pt x="15" y="0"/>
                    </a:cubicBezTo>
                    <a:cubicBezTo>
                      <a:pt x="1" y="61"/>
                      <a:pt x="1" y="61"/>
                      <a:pt x="1" y="61"/>
                    </a:cubicBezTo>
                    <a:cubicBezTo>
                      <a:pt x="0" y="62"/>
                      <a:pt x="0" y="63"/>
                      <a:pt x="0" y="64"/>
                    </a:cubicBezTo>
                    <a:cubicBezTo>
                      <a:pt x="0" y="69"/>
                      <a:pt x="5" y="74"/>
                      <a:pt x="10" y="74"/>
                    </a:cubicBezTo>
                    <a:cubicBezTo>
                      <a:pt x="15" y="74"/>
                      <a:pt x="20" y="69"/>
                      <a:pt x="20" y="64"/>
                    </a:cubicBezTo>
                    <a:cubicBezTo>
                      <a:pt x="20" y="69"/>
                      <a:pt x="24" y="74"/>
                      <a:pt x="29" y="74"/>
                    </a:cubicBezTo>
                    <a:cubicBezTo>
                      <a:pt x="35" y="74"/>
                      <a:pt x="39" y="69"/>
                      <a:pt x="39" y="64"/>
                    </a:cubicBezTo>
                    <a:cubicBezTo>
                      <a:pt x="39" y="69"/>
                      <a:pt x="43" y="74"/>
                      <a:pt x="49" y="74"/>
                    </a:cubicBezTo>
                    <a:cubicBezTo>
                      <a:pt x="54" y="74"/>
                      <a:pt x="59" y="69"/>
                      <a:pt x="59" y="64"/>
                    </a:cubicBezTo>
                    <a:cubicBezTo>
                      <a:pt x="59" y="69"/>
                      <a:pt x="63" y="74"/>
                      <a:pt x="68" y="74"/>
                    </a:cubicBezTo>
                    <a:cubicBezTo>
                      <a:pt x="74" y="74"/>
                      <a:pt x="78" y="69"/>
                      <a:pt x="78" y="64"/>
                    </a:cubicBezTo>
                    <a:cubicBezTo>
                      <a:pt x="78" y="69"/>
                      <a:pt x="82" y="74"/>
                      <a:pt x="88" y="74"/>
                    </a:cubicBezTo>
                    <a:cubicBezTo>
                      <a:pt x="93" y="74"/>
                      <a:pt x="98" y="69"/>
                      <a:pt x="98" y="64"/>
                    </a:cubicBezTo>
                    <a:cubicBezTo>
                      <a:pt x="98" y="69"/>
                      <a:pt x="102" y="74"/>
                      <a:pt x="107" y="74"/>
                    </a:cubicBezTo>
                    <a:cubicBezTo>
                      <a:pt x="113" y="74"/>
                      <a:pt x="117" y="69"/>
                      <a:pt x="117" y="64"/>
                    </a:cubicBezTo>
                    <a:cubicBezTo>
                      <a:pt x="117" y="69"/>
                      <a:pt x="121" y="74"/>
                      <a:pt x="127" y="74"/>
                    </a:cubicBezTo>
                    <a:cubicBezTo>
                      <a:pt x="132" y="74"/>
                      <a:pt x="136" y="69"/>
                      <a:pt x="136" y="64"/>
                    </a:cubicBezTo>
                    <a:cubicBezTo>
                      <a:pt x="136" y="69"/>
                      <a:pt x="141" y="74"/>
                      <a:pt x="146" y="74"/>
                    </a:cubicBezTo>
                    <a:cubicBezTo>
                      <a:pt x="152" y="74"/>
                      <a:pt x="156" y="69"/>
                      <a:pt x="156" y="64"/>
                    </a:cubicBezTo>
                    <a:cubicBezTo>
                      <a:pt x="156" y="69"/>
                      <a:pt x="160" y="74"/>
                      <a:pt x="166" y="74"/>
                    </a:cubicBezTo>
                    <a:cubicBezTo>
                      <a:pt x="171" y="74"/>
                      <a:pt x="175" y="69"/>
                      <a:pt x="175" y="64"/>
                    </a:cubicBezTo>
                    <a:cubicBezTo>
                      <a:pt x="175" y="69"/>
                      <a:pt x="180" y="74"/>
                      <a:pt x="185" y="74"/>
                    </a:cubicBezTo>
                    <a:cubicBezTo>
                      <a:pt x="191" y="74"/>
                      <a:pt x="195" y="69"/>
                      <a:pt x="195" y="64"/>
                    </a:cubicBezTo>
                    <a:cubicBezTo>
                      <a:pt x="195" y="69"/>
                      <a:pt x="199" y="74"/>
                      <a:pt x="205" y="74"/>
                    </a:cubicBezTo>
                    <a:cubicBezTo>
                      <a:pt x="210" y="74"/>
                      <a:pt x="214" y="69"/>
                      <a:pt x="214" y="64"/>
                    </a:cubicBezTo>
                    <a:cubicBezTo>
                      <a:pt x="214" y="69"/>
                      <a:pt x="219" y="74"/>
                      <a:pt x="224" y="74"/>
                    </a:cubicBezTo>
                    <a:cubicBezTo>
                      <a:pt x="229" y="74"/>
                      <a:pt x="234" y="69"/>
                      <a:pt x="234" y="64"/>
                    </a:cubicBezTo>
                    <a:cubicBezTo>
                      <a:pt x="234" y="69"/>
                      <a:pt x="238" y="74"/>
                      <a:pt x="244" y="74"/>
                    </a:cubicBezTo>
                    <a:cubicBezTo>
                      <a:pt x="249" y="74"/>
                      <a:pt x="253" y="69"/>
                      <a:pt x="253" y="64"/>
                    </a:cubicBezTo>
                    <a:cubicBezTo>
                      <a:pt x="253" y="63"/>
                      <a:pt x="253" y="62"/>
                      <a:pt x="253" y="61"/>
                    </a:cubicBezTo>
                    <a:close/>
                  </a:path>
                </a:pathLst>
              </a:cu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73" name="Rectangle 117">
                <a:extLst>
                  <a:ext uri="{FF2B5EF4-FFF2-40B4-BE49-F238E27FC236}">
                    <a16:creationId xmlns:a16="http://schemas.microsoft.com/office/drawing/2014/main" id="{8134A5F7-BD7E-A74C-ADFF-C2F614501A0C}"/>
                  </a:ext>
                </a:extLst>
              </p:cNvPr>
              <p:cNvSpPr>
                <a:spLocks noChangeArrowheads="1"/>
              </p:cNvSpPr>
              <p:nvPr/>
            </p:nvSpPr>
            <p:spPr bwMode="auto">
              <a:xfrm>
                <a:off x="2681288" y="3911600"/>
                <a:ext cx="65088" cy="14922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74" name="Rectangle 118">
                <a:extLst>
                  <a:ext uri="{FF2B5EF4-FFF2-40B4-BE49-F238E27FC236}">
                    <a16:creationId xmlns:a16="http://schemas.microsoft.com/office/drawing/2014/main" id="{01E5C248-CD36-7046-BDE4-622E7822A152}"/>
                  </a:ext>
                </a:extLst>
              </p:cNvPr>
              <p:cNvSpPr>
                <a:spLocks noChangeArrowheads="1"/>
              </p:cNvSpPr>
              <p:nvPr/>
            </p:nvSpPr>
            <p:spPr bwMode="auto">
              <a:xfrm>
                <a:off x="2786063" y="3911600"/>
                <a:ext cx="65088" cy="14922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75" name="Rectangle 119">
                <a:extLst>
                  <a:ext uri="{FF2B5EF4-FFF2-40B4-BE49-F238E27FC236}">
                    <a16:creationId xmlns:a16="http://schemas.microsoft.com/office/drawing/2014/main" id="{D295AE32-9BBB-414C-BD0F-7E732EB8CD96}"/>
                  </a:ext>
                </a:extLst>
              </p:cNvPr>
              <p:cNvSpPr>
                <a:spLocks noChangeArrowheads="1"/>
              </p:cNvSpPr>
              <p:nvPr/>
            </p:nvSpPr>
            <p:spPr bwMode="auto">
              <a:xfrm>
                <a:off x="2890838" y="3911600"/>
                <a:ext cx="66675" cy="14922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76" name="Rectangle 120">
                <a:extLst>
                  <a:ext uri="{FF2B5EF4-FFF2-40B4-BE49-F238E27FC236}">
                    <a16:creationId xmlns:a16="http://schemas.microsoft.com/office/drawing/2014/main" id="{797BC3E7-08F1-5C44-8F1F-017930D55414}"/>
                  </a:ext>
                </a:extLst>
              </p:cNvPr>
              <p:cNvSpPr>
                <a:spLocks noChangeArrowheads="1"/>
              </p:cNvSpPr>
              <p:nvPr/>
            </p:nvSpPr>
            <p:spPr bwMode="auto">
              <a:xfrm>
                <a:off x="2997200" y="3911600"/>
                <a:ext cx="65088" cy="149225"/>
              </a:xfrm>
              <a:prstGeom prst="rect">
                <a:avLst/>
              </a:prstGeom>
              <a:solidFill>
                <a:srgbClr val="CFDD2A"/>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pic>
          <p:nvPicPr>
            <p:cNvPr id="158" name="Picture 157">
              <a:extLst>
                <a:ext uri="{FF2B5EF4-FFF2-40B4-BE49-F238E27FC236}">
                  <a16:creationId xmlns:a16="http://schemas.microsoft.com/office/drawing/2014/main" id="{93858AC3-7351-AB4E-AC8D-112D74813EBE}"/>
                </a:ext>
              </a:extLst>
            </p:cNvPr>
            <p:cNvPicPr>
              <a:picLocks noChangeAspect="1"/>
            </p:cNvPicPr>
            <p:nvPr/>
          </p:nvPicPr>
          <p:blipFill>
            <a:blip r:embed="rId3"/>
            <a:stretch>
              <a:fillRect/>
            </a:stretch>
          </p:blipFill>
          <p:spPr>
            <a:xfrm>
              <a:off x="2238071" y="4296025"/>
              <a:ext cx="216331" cy="453870"/>
            </a:xfrm>
            <a:prstGeom prst="rect">
              <a:avLst/>
            </a:prstGeom>
          </p:spPr>
        </p:pic>
        <p:pic>
          <p:nvPicPr>
            <p:cNvPr id="159" name="Picture 158">
              <a:extLst>
                <a:ext uri="{FF2B5EF4-FFF2-40B4-BE49-F238E27FC236}">
                  <a16:creationId xmlns:a16="http://schemas.microsoft.com/office/drawing/2014/main" id="{690FCF92-84C0-A649-AA79-25778D43AD30}"/>
                </a:ext>
              </a:extLst>
            </p:cNvPr>
            <p:cNvPicPr>
              <a:picLocks noChangeAspect="1"/>
            </p:cNvPicPr>
            <p:nvPr/>
          </p:nvPicPr>
          <p:blipFill>
            <a:blip r:embed="rId3"/>
            <a:stretch>
              <a:fillRect/>
            </a:stretch>
          </p:blipFill>
          <p:spPr>
            <a:xfrm>
              <a:off x="3234231" y="4296025"/>
              <a:ext cx="216331" cy="453870"/>
            </a:xfrm>
            <a:prstGeom prst="rect">
              <a:avLst/>
            </a:prstGeom>
          </p:spPr>
        </p:pic>
        <p:pic>
          <p:nvPicPr>
            <p:cNvPr id="160" name="Picture 159">
              <a:extLst>
                <a:ext uri="{FF2B5EF4-FFF2-40B4-BE49-F238E27FC236}">
                  <a16:creationId xmlns:a16="http://schemas.microsoft.com/office/drawing/2014/main" id="{361220AD-C7EB-9B43-AD4A-0602D5000863}"/>
                </a:ext>
              </a:extLst>
            </p:cNvPr>
            <p:cNvPicPr>
              <a:picLocks noChangeAspect="1"/>
            </p:cNvPicPr>
            <p:nvPr/>
          </p:nvPicPr>
          <p:blipFill>
            <a:blip r:embed="rId3"/>
            <a:stretch>
              <a:fillRect/>
            </a:stretch>
          </p:blipFill>
          <p:spPr>
            <a:xfrm>
              <a:off x="4420331" y="4296025"/>
              <a:ext cx="216331" cy="453870"/>
            </a:xfrm>
            <a:prstGeom prst="rect">
              <a:avLst/>
            </a:prstGeom>
          </p:spPr>
        </p:pic>
        <p:pic>
          <p:nvPicPr>
            <p:cNvPr id="161" name="Picture 160">
              <a:extLst>
                <a:ext uri="{FF2B5EF4-FFF2-40B4-BE49-F238E27FC236}">
                  <a16:creationId xmlns:a16="http://schemas.microsoft.com/office/drawing/2014/main" id="{E35DB02A-F5CD-E64B-87A3-71FFC59A3C2F}"/>
                </a:ext>
              </a:extLst>
            </p:cNvPr>
            <p:cNvPicPr>
              <a:picLocks noChangeAspect="1"/>
            </p:cNvPicPr>
            <p:nvPr/>
          </p:nvPicPr>
          <p:blipFill>
            <a:blip r:embed="rId3"/>
            <a:stretch>
              <a:fillRect/>
            </a:stretch>
          </p:blipFill>
          <p:spPr>
            <a:xfrm>
              <a:off x="5628255" y="4296025"/>
              <a:ext cx="216331" cy="453870"/>
            </a:xfrm>
            <a:prstGeom prst="rect">
              <a:avLst/>
            </a:prstGeom>
          </p:spPr>
        </p:pic>
        <p:grpSp>
          <p:nvGrpSpPr>
            <p:cNvPr id="162" name="Group 161">
              <a:extLst>
                <a:ext uri="{FF2B5EF4-FFF2-40B4-BE49-F238E27FC236}">
                  <a16:creationId xmlns:a16="http://schemas.microsoft.com/office/drawing/2014/main" id="{F1E17C33-E6E9-674D-A26C-D8DBE0096A9E}"/>
                </a:ext>
              </a:extLst>
            </p:cNvPr>
            <p:cNvGrpSpPr/>
            <p:nvPr/>
          </p:nvGrpSpPr>
          <p:grpSpPr>
            <a:xfrm>
              <a:off x="6895450" y="3907331"/>
              <a:ext cx="442861" cy="842564"/>
              <a:chOff x="11214100" y="1630363"/>
              <a:chExt cx="1058863" cy="2014537"/>
            </a:xfrm>
          </p:grpSpPr>
          <p:sp>
            <p:nvSpPr>
              <p:cNvPr id="163" name="Freeform 173">
                <a:extLst>
                  <a:ext uri="{FF2B5EF4-FFF2-40B4-BE49-F238E27FC236}">
                    <a16:creationId xmlns:a16="http://schemas.microsoft.com/office/drawing/2014/main" id="{82D3A2AB-D81E-4648-A2B8-9D6149ABA955}"/>
                  </a:ext>
                </a:extLst>
              </p:cNvPr>
              <p:cNvSpPr>
                <a:spLocks/>
              </p:cNvSpPr>
              <p:nvPr/>
            </p:nvSpPr>
            <p:spPr bwMode="auto">
              <a:xfrm>
                <a:off x="11214100" y="1630363"/>
                <a:ext cx="1058863" cy="2014537"/>
              </a:xfrm>
              <a:custGeom>
                <a:avLst/>
                <a:gdLst>
                  <a:gd name="T0" fmla="*/ 667 w 667"/>
                  <a:gd name="T1" fmla="*/ 1269 h 1269"/>
                  <a:gd name="T2" fmla="*/ 0 w 667"/>
                  <a:gd name="T3" fmla="*/ 1269 h 1269"/>
                  <a:gd name="T4" fmla="*/ 0 w 667"/>
                  <a:gd name="T5" fmla="*/ 451 h 1269"/>
                  <a:gd name="T6" fmla="*/ 334 w 667"/>
                  <a:gd name="T7" fmla="*/ 0 h 1269"/>
                  <a:gd name="T8" fmla="*/ 667 w 667"/>
                  <a:gd name="T9" fmla="*/ 451 h 1269"/>
                  <a:gd name="T10" fmla="*/ 667 w 667"/>
                  <a:gd name="T11" fmla="*/ 1269 h 1269"/>
                </a:gdLst>
                <a:ahLst/>
                <a:cxnLst>
                  <a:cxn ang="0">
                    <a:pos x="T0" y="T1"/>
                  </a:cxn>
                  <a:cxn ang="0">
                    <a:pos x="T2" y="T3"/>
                  </a:cxn>
                  <a:cxn ang="0">
                    <a:pos x="T4" y="T5"/>
                  </a:cxn>
                  <a:cxn ang="0">
                    <a:pos x="T6" y="T7"/>
                  </a:cxn>
                  <a:cxn ang="0">
                    <a:pos x="T8" y="T9"/>
                  </a:cxn>
                  <a:cxn ang="0">
                    <a:pos x="T10" y="T11"/>
                  </a:cxn>
                </a:cxnLst>
                <a:rect l="0" t="0" r="r" b="b"/>
                <a:pathLst>
                  <a:path w="667" h="1269">
                    <a:moveTo>
                      <a:pt x="667" y="1269"/>
                    </a:moveTo>
                    <a:lnTo>
                      <a:pt x="0" y="1269"/>
                    </a:lnTo>
                    <a:lnTo>
                      <a:pt x="0" y="451"/>
                    </a:lnTo>
                    <a:lnTo>
                      <a:pt x="334" y="0"/>
                    </a:lnTo>
                    <a:lnTo>
                      <a:pt x="667" y="451"/>
                    </a:lnTo>
                    <a:lnTo>
                      <a:pt x="667" y="126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64" name="Oval 174">
                <a:extLst>
                  <a:ext uri="{FF2B5EF4-FFF2-40B4-BE49-F238E27FC236}">
                    <a16:creationId xmlns:a16="http://schemas.microsoft.com/office/drawing/2014/main" id="{0CEAA752-93AA-7949-BA99-F5BBB83BDF36}"/>
                  </a:ext>
                </a:extLst>
              </p:cNvPr>
              <p:cNvSpPr>
                <a:spLocks noChangeArrowheads="1"/>
              </p:cNvSpPr>
              <p:nvPr/>
            </p:nvSpPr>
            <p:spPr bwMode="auto">
              <a:xfrm>
                <a:off x="11428413" y="2316163"/>
                <a:ext cx="255588" cy="257175"/>
              </a:xfrm>
              <a:prstGeom prst="ellipse">
                <a:avLst/>
              </a:prstGeom>
              <a:solidFill>
                <a:schemeClr val="accent4">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65" name="Oval 175">
                <a:extLst>
                  <a:ext uri="{FF2B5EF4-FFF2-40B4-BE49-F238E27FC236}">
                    <a16:creationId xmlns:a16="http://schemas.microsoft.com/office/drawing/2014/main" id="{2067BBF0-EDF6-DF4C-BB89-1E504659899F}"/>
                  </a:ext>
                </a:extLst>
              </p:cNvPr>
              <p:cNvSpPr>
                <a:spLocks noChangeArrowheads="1"/>
              </p:cNvSpPr>
              <p:nvPr/>
            </p:nvSpPr>
            <p:spPr bwMode="auto">
              <a:xfrm>
                <a:off x="11801475" y="2316163"/>
                <a:ext cx="255588" cy="257175"/>
              </a:xfrm>
              <a:prstGeom prst="ellipse">
                <a:avLst/>
              </a:prstGeom>
              <a:solidFill>
                <a:schemeClr val="accent4">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66" name="Oval 176">
                <a:extLst>
                  <a:ext uri="{FF2B5EF4-FFF2-40B4-BE49-F238E27FC236}">
                    <a16:creationId xmlns:a16="http://schemas.microsoft.com/office/drawing/2014/main" id="{0409F08B-C050-FD44-9A13-A64C9F773768}"/>
                  </a:ext>
                </a:extLst>
              </p:cNvPr>
              <p:cNvSpPr>
                <a:spLocks noChangeArrowheads="1"/>
              </p:cNvSpPr>
              <p:nvPr/>
            </p:nvSpPr>
            <p:spPr bwMode="auto">
              <a:xfrm>
                <a:off x="11428413" y="2679700"/>
                <a:ext cx="255588" cy="255587"/>
              </a:xfrm>
              <a:prstGeom prst="ellipse">
                <a:avLst/>
              </a:prstGeom>
              <a:solidFill>
                <a:schemeClr val="accent4">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67" name="Oval 177">
                <a:extLst>
                  <a:ext uri="{FF2B5EF4-FFF2-40B4-BE49-F238E27FC236}">
                    <a16:creationId xmlns:a16="http://schemas.microsoft.com/office/drawing/2014/main" id="{E9CCC9F9-EB02-FE4B-82D4-4FB451401784}"/>
                  </a:ext>
                </a:extLst>
              </p:cNvPr>
              <p:cNvSpPr>
                <a:spLocks noChangeArrowheads="1"/>
              </p:cNvSpPr>
              <p:nvPr/>
            </p:nvSpPr>
            <p:spPr bwMode="auto">
              <a:xfrm>
                <a:off x="11801475" y="2679700"/>
                <a:ext cx="255588" cy="255587"/>
              </a:xfrm>
              <a:prstGeom prst="ellipse">
                <a:avLst/>
              </a:prstGeom>
              <a:solidFill>
                <a:schemeClr val="accent4">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68" name="Oval 178">
                <a:extLst>
                  <a:ext uri="{FF2B5EF4-FFF2-40B4-BE49-F238E27FC236}">
                    <a16:creationId xmlns:a16="http://schemas.microsoft.com/office/drawing/2014/main" id="{30F6F6D3-9186-104C-8105-03D81BFDC6B8}"/>
                  </a:ext>
                </a:extLst>
              </p:cNvPr>
              <p:cNvSpPr>
                <a:spLocks noChangeArrowheads="1"/>
              </p:cNvSpPr>
              <p:nvPr/>
            </p:nvSpPr>
            <p:spPr bwMode="auto">
              <a:xfrm>
                <a:off x="11428413" y="3044825"/>
                <a:ext cx="255588" cy="257175"/>
              </a:xfrm>
              <a:prstGeom prst="ellipse">
                <a:avLst/>
              </a:prstGeom>
              <a:solidFill>
                <a:schemeClr val="accent4">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sp>
            <p:nvSpPr>
              <p:cNvPr id="169" name="Oval 179">
                <a:extLst>
                  <a:ext uri="{FF2B5EF4-FFF2-40B4-BE49-F238E27FC236}">
                    <a16:creationId xmlns:a16="http://schemas.microsoft.com/office/drawing/2014/main" id="{F35A6722-550B-B54D-9973-2A2652DF3099}"/>
                  </a:ext>
                </a:extLst>
              </p:cNvPr>
              <p:cNvSpPr>
                <a:spLocks noChangeArrowheads="1"/>
              </p:cNvSpPr>
              <p:nvPr/>
            </p:nvSpPr>
            <p:spPr bwMode="auto">
              <a:xfrm>
                <a:off x="11801475" y="3044825"/>
                <a:ext cx="255588" cy="257175"/>
              </a:xfrm>
              <a:prstGeom prst="ellipse">
                <a:avLst/>
              </a:prstGeom>
              <a:solidFill>
                <a:schemeClr val="accent4">
                  <a:lumMod val="60000"/>
                  <a:lumOff val="4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D4D4D"/>
                  </a:solidFill>
                  <a:effectLst/>
                  <a:uLnTx/>
                  <a:uFillTx/>
                  <a:latin typeface="Arial"/>
                  <a:ea typeface="+mn-ea"/>
                  <a:cs typeface="+mn-cs"/>
                </a:endParaRPr>
              </a:p>
            </p:txBody>
          </p:sp>
        </p:grpSp>
        <p:sp>
          <p:nvSpPr>
            <p:cNvPr id="129" name="Rectangle 128">
              <a:extLst>
                <a:ext uri="{FF2B5EF4-FFF2-40B4-BE49-F238E27FC236}">
                  <a16:creationId xmlns:a16="http://schemas.microsoft.com/office/drawing/2014/main" id="{F13F3917-5FAF-3648-907D-C337F53216E1}"/>
                </a:ext>
              </a:extLst>
            </p:cNvPr>
            <p:cNvSpPr/>
            <p:nvPr/>
          </p:nvSpPr>
          <p:spPr>
            <a:xfrm>
              <a:off x="-188396" y="4749894"/>
              <a:ext cx="9283615" cy="603657"/>
            </a:xfrm>
            <a:prstGeom prst="rect">
              <a:avLst/>
            </a:prstGeom>
            <a:solidFill>
              <a:srgbClr val="8AC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436" name="Group 435">
            <a:extLst>
              <a:ext uri="{FF2B5EF4-FFF2-40B4-BE49-F238E27FC236}">
                <a16:creationId xmlns:a16="http://schemas.microsoft.com/office/drawing/2014/main" id="{B7860087-2A81-3C4F-9C5E-C2F679535289}"/>
              </a:ext>
            </a:extLst>
          </p:cNvPr>
          <p:cNvGrpSpPr/>
          <p:nvPr/>
        </p:nvGrpSpPr>
        <p:grpSpPr>
          <a:xfrm>
            <a:off x="6612149" y="1576570"/>
            <a:ext cx="4447878" cy="1176566"/>
            <a:chOff x="5669176" y="1576570"/>
            <a:chExt cx="4447878" cy="1176566"/>
          </a:xfrm>
        </p:grpSpPr>
        <p:sp>
          <p:nvSpPr>
            <p:cNvPr id="431" name="TextBox 430">
              <a:extLst>
                <a:ext uri="{FF2B5EF4-FFF2-40B4-BE49-F238E27FC236}">
                  <a16:creationId xmlns:a16="http://schemas.microsoft.com/office/drawing/2014/main" id="{096BAE3A-9A39-414D-B85D-65EA55040F70}"/>
                </a:ext>
              </a:extLst>
            </p:cNvPr>
            <p:cNvSpPr txBox="1"/>
            <p:nvPr/>
          </p:nvSpPr>
          <p:spPr>
            <a:xfrm>
              <a:off x="6477858" y="2489218"/>
              <a:ext cx="3609702" cy="26391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30A0"/>
                  </a:solidFill>
                  <a:effectLst/>
                  <a:uLnTx/>
                  <a:uFillTx/>
                  <a:latin typeface="EC Square Sans Pro" panose="020B0506040000020004" pitchFamily="34" charset="0"/>
                  <a:ea typeface="+mn-ea"/>
                  <a:cs typeface="Arial" panose="020B0604020202020204" pitchFamily="34" charset="0"/>
                  <a:hlinkClick r:id="rId4"/>
                </a:rPr>
                <a:t>https://europa.eu/!rx34Dt</a:t>
              </a:r>
              <a:endParaRPr kumimoji="0" lang="en-US" sz="1400" b="1" i="0" u="none" strike="noStrike" kern="1200" cap="none" spc="0" normalizeH="0" baseline="0" noProof="0">
                <a:ln>
                  <a:noFill/>
                </a:ln>
                <a:solidFill>
                  <a:srgbClr val="7030A0"/>
                </a:solidFill>
                <a:effectLst/>
                <a:uLnTx/>
                <a:uFillTx/>
                <a:latin typeface="EC Square Sans Pro" panose="020B0506040000020004" pitchFamily="34" charset="0"/>
                <a:ea typeface="+mn-ea"/>
                <a:cs typeface="Arial" panose="020B0604020202020204" pitchFamily="34" charset="0"/>
              </a:endParaRPr>
            </a:p>
          </p:txBody>
        </p:sp>
        <p:grpSp>
          <p:nvGrpSpPr>
            <p:cNvPr id="424" name="Group 423">
              <a:extLst>
                <a:ext uri="{FF2B5EF4-FFF2-40B4-BE49-F238E27FC236}">
                  <a16:creationId xmlns:a16="http://schemas.microsoft.com/office/drawing/2014/main" id="{3FBA607C-6B6F-A845-9473-99A92F272047}"/>
                </a:ext>
              </a:extLst>
            </p:cNvPr>
            <p:cNvGrpSpPr/>
            <p:nvPr/>
          </p:nvGrpSpPr>
          <p:grpSpPr>
            <a:xfrm>
              <a:off x="5920070" y="1576570"/>
              <a:ext cx="4196984" cy="840230"/>
              <a:chOff x="789460" y="1735824"/>
              <a:chExt cx="4196984" cy="840230"/>
            </a:xfrm>
          </p:grpSpPr>
          <p:sp>
            <p:nvSpPr>
              <p:cNvPr id="428" name="TextBox 427">
                <a:extLst>
                  <a:ext uri="{FF2B5EF4-FFF2-40B4-BE49-F238E27FC236}">
                    <a16:creationId xmlns:a16="http://schemas.microsoft.com/office/drawing/2014/main" id="{E53E2FF8-F908-2A4B-BFE0-05D8D6210225}"/>
                  </a:ext>
                </a:extLst>
              </p:cNvPr>
              <p:cNvSpPr txBox="1"/>
              <p:nvPr/>
            </p:nvSpPr>
            <p:spPr>
              <a:xfrm>
                <a:off x="1376742" y="1735824"/>
                <a:ext cx="3609702" cy="840230"/>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IE" sz="1400" b="1" i="1" u="none" strike="noStrike" kern="1200" cap="none" spc="0" normalizeH="0" baseline="0" noProof="0">
                    <a:ln>
                      <a:noFill/>
                    </a:ln>
                    <a:solidFill>
                      <a:srgbClr val="4D4D4D"/>
                    </a:solidFill>
                    <a:effectLst/>
                    <a:uLnTx/>
                    <a:uFillTx/>
                    <a:latin typeface="EC Square Sans Pro" panose="020B0506040000020004" pitchFamily="34" charset="0"/>
                    <a:ea typeface="+mn-ea"/>
                    <a:cs typeface="Arial" panose="020B0604020202020204" pitchFamily="34" charset="0"/>
                  </a:rPr>
                  <a:t>Further info, planning of new calls, recorded webinars and videos available on the IF Website: </a:t>
                </a:r>
                <a:endParaRPr kumimoji="0" lang="en-US" sz="1400" b="1" i="0" u="none" strike="noStrike" kern="1200" cap="none" spc="0" normalizeH="0" baseline="0" noProof="0">
                  <a:ln>
                    <a:noFill/>
                  </a:ln>
                  <a:solidFill>
                    <a:srgbClr val="4D4D4D"/>
                  </a:solidFill>
                  <a:effectLst/>
                  <a:uLnTx/>
                  <a:uFillTx/>
                  <a:latin typeface="EC Square Sans Pro" panose="020B0506040000020004" pitchFamily="34" charset="0"/>
                  <a:ea typeface="+mn-ea"/>
                  <a:cs typeface="Arial" panose="020B0604020202020204" pitchFamily="34" charset="0"/>
                </a:endParaRPr>
              </a:p>
            </p:txBody>
          </p:sp>
          <p:sp>
            <p:nvSpPr>
              <p:cNvPr id="426" name="Shape 2540">
                <a:extLst>
                  <a:ext uri="{FF2B5EF4-FFF2-40B4-BE49-F238E27FC236}">
                    <a16:creationId xmlns:a16="http://schemas.microsoft.com/office/drawing/2014/main" id="{C680F787-C7DD-B146-96C0-A5A6F1963B09}"/>
                  </a:ext>
                </a:extLst>
              </p:cNvPr>
              <p:cNvSpPr/>
              <p:nvPr/>
            </p:nvSpPr>
            <p:spPr>
              <a:xfrm>
                <a:off x="789460" y="202753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EC Square Sans Pro" panose="020B0506040000020004" pitchFamily="34" charset="0"/>
                  <a:ea typeface="Source Sans Pro Light" charset="0"/>
                  <a:cs typeface="Source Sans Pro Light" charset="0"/>
                  <a:sym typeface="Gill Sans"/>
                </a:endParaRPr>
              </a:p>
            </p:txBody>
          </p:sp>
        </p:grpSp>
        <p:pic>
          <p:nvPicPr>
            <p:cNvPr id="432" name="Picture 431">
              <a:extLst>
                <a:ext uri="{FF2B5EF4-FFF2-40B4-BE49-F238E27FC236}">
                  <a16:creationId xmlns:a16="http://schemas.microsoft.com/office/drawing/2014/main" id="{55E0E466-2B50-2C4F-A856-A660A5A0688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69176" y="1588439"/>
              <a:ext cx="684199" cy="750146"/>
            </a:xfrm>
            <a:prstGeom prst="rect">
              <a:avLst/>
            </a:prstGeom>
          </p:spPr>
        </p:pic>
      </p:grpSp>
      <p:grpSp>
        <p:nvGrpSpPr>
          <p:cNvPr id="437" name="Group 436">
            <a:extLst>
              <a:ext uri="{FF2B5EF4-FFF2-40B4-BE49-F238E27FC236}">
                <a16:creationId xmlns:a16="http://schemas.microsoft.com/office/drawing/2014/main" id="{D2DE7DA2-70F3-7047-9633-7DACC1ECCFA4}"/>
              </a:ext>
            </a:extLst>
          </p:cNvPr>
          <p:cNvGrpSpPr/>
          <p:nvPr/>
        </p:nvGrpSpPr>
        <p:grpSpPr>
          <a:xfrm>
            <a:off x="6598128" y="2849488"/>
            <a:ext cx="4432405" cy="791818"/>
            <a:chOff x="5684649" y="2960349"/>
            <a:chExt cx="4432405" cy="791818"/>
          </a:xfrm>
        </p:grpSpPr>
        <p:pic>
          <p:nvPicPr>
            <p:cNvPr id="433" name="Picture 432">
              <a:extLst>
                <a:ext uri="{FF2B5EF4-FFF2-40B4-BE49-F238E27FC236}">
                  <a16:creationId xmlns:a16="http://schemas.microsoft.com/office/drawing/2014/main" id="{6119AF90-3DA4-7147-8B4D-3E6D1BADE4C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84649" y="2960349"/>
              <a:ext cx="660728" cy="726004"/>
            </a:xfrm>
            <a:prstGeom prst="rect">
              <a:avLst/>
            </a:prstGeom>
          </p:spPr>
        </p:pic>
        <p:sp>
          <p:nvSpPr>
            <p:cNvPr id="434" name="TextBox 433">
              <a:extLst>
                <a:ext uri="{FF2B5EF4-FFF2-40B4-BE49-F238E27FC236}">
                  <a16:creationId xmlns:a16="http://schemas.microsoft.com/office/drawing/2014/main" id="{F18AE3C9-D954-4C43-BC23-D941531E72DB}"/>
                </a:ext>
              </a:extLst>
            </p:cNvPr>
            <p:cNvSpPr txBox="1"/>
            <p:nvPr/>
          </p:nvSpPr>
          <p:spPr>
            <a:xfrm>
              <a:off x="6507352" y="3128964"/>
              <a:ext cx="3609702" cy="26193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IE" sz="1400" b="1" i="1" u="none" strike="noStrike" kern="1200" cap="none" spc="0" normalizeH="0" baseline="0" noProof="0">
                  <a:ln>
                    <a:noFill/>
                  </a:ln>
                  <a:solidFill>
                    <a:srgbClr val="4D4D4D"/>
                  </a:solidFill>
                  <a:effectLst/>
                  <a:uLnTx/>
                  <a:uFillTx/>
                  <a:latin typeface="EC Square Sans Pro" panose="020B0506040000020004" pitchFamily="34" charset="0"/>
                  <a:ea typeface="+mn-ea"/>
                  <a:cs typeface="Arial" panose="020B0604020202020204" pitchFamily="34" charset="0"/>
                </a:rPr>
                <a:t>Innovation Fund - YouTube</a:t>
              </a:r>
              <a:endParaRPr kumimoji="0" lang="en-US" sz="1400" b="1" i="0" u="none" strike="noStrike" kern="1200" cap="none" spc="0" normalizeH="0" baseline="0" noProof="0">
                <a:ln>
                  <a:noFill/>
                </a:ln>
                <a:solidFill>
                  <a:srgbClr val="4D4D4D"/>
                </a:solidFill>
                <a:effectLst/>
                <a:uLnTx/>
                <a:uFillTx/>
                <a:latin typeface="EC Square Sans Pro" panose="020B0506040000020004" pitchFamily="34" charset="0"/>
                <a:ea typeface="+mn-ea"/>
                <a:cs typeface="Arial" panose="020B0604020202020204" pitchFamily="34" charset="0"/>
              </a:endParaRPr>
            </a:p>
          </p:txBody>
        </p:sp>
        <p:sp>
          <p:nvSpPr>
            <p:cNvPr id="435" name="TextBox 434">
              <a:extLst>
                <a:ext uri="{FF2B5EF4-FFF2-40B4-BE49-F238E27FC236}">
                  <a16:creationId xmlns:a16="http://schemas.microsoft.com/office/drawing/2014/main" id="{D353854E-B260-F640-9269-BE565566CFCE}"/>
                </a:ext>
              </a:extLst>
            </p:cNvPr>
            <p:cNvSpPr txBox="1"/>
            <p:nvPr/>
          </p:nvSpPr>
          <p:spPr>
            <a:xfrm>
              <a:off x="6507352" y="3488249"/>
              <a:ext cx="3609702" cy="26391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24EA2"/>
                  </a:solidFill>
                  <a:effectLst/>
                  <a:uLnTx/>
                  <a:uFillTx/>
                  <a:latin typeface="EC Square Sans Pro" panose="020B0506040000020004" pitchFamily="34" charset="0"/>
                  <a:ea typeface="+mn-ea"/>
                  <a:cs typeface="Arial" panose="020B0604020202020204" pitchFamily="34" charset="0"/>
                  <a:hlinkClick r:id="rId7"/>
                </a:rPr>
                <a:t>https://bit.ly/2WxK8w7</a:t>
              </a:r>
              <a:endParaRPr kumimoji="0" lang="en-US" sz="1400" b="1" i="0" u="none" strike="noStrike" kern="1200" cap="none" spc="0" normalizeH="0" baseline="0" noProof="0">
                <a:ln>
                  <a:noFill/>
                </a:ln>
                <a:solidFill>
                  <a:srgbClr val="024EA2"/>
                </a:solidFill>
                <a:effectLst/>
                <a:uLnTx/>
                <a:uFillTx/>
                <a:latin typeface="EC Square Sans Pro" panose="020B0506040000020004" pitchFamily="34" charset="0"/>
                <a:ea typeface="+mn-ea"/>
                <a:cs typeface="Arial" panose="020B0604020202020204" pitchFamily="34" charset="0"/>
              </a:endParaRPr>
            </a:p>
          </p:txBody>
        </p:sp>
      </p:grpSp>
      <p:pic>
        <p:nvPicPr>
          <p:cNvPr id="440" name="Picture 439">
            <a:extLst>
              <a:ext uri="{FF2B5EF4-FFF2-40B4-BE49-F238E27FC236}">
                <a16:creationId xmlns:a16="http://schemas.microsoft.com/office/drawing/2014/main" id="{96E6D808-4B3C-1F49-A2AB-7A207F70074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9812" y="1520578"/>
            <a:ext cx="684199" cy="750146"/>
          </a:xfrm>
          <a:prstGeom prst="rect">
            <a:avLst/>
          </a:prstGeom>
        </p:spPr>
      </p:pic>
      <p:pic>
        <p:nvPicPr>
          <p:cNvPr id="446" name="Picture 445" descr="Text&#10;&#10;Description automatically generated with low confidence">
            <a:extLst>
              <a:ext uri="{FF2B5EF4-FFF2-40B4-BE49-F238E27FC236}">
                <a16:creationId xmlns:a16="http://schemas.microsoft.com/office/drawing/2014/main" id="{1ACCF1EB-312A-D645-88BD-81059205875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25268" y="6105837"/>
            <a:ext cx="4619678" cy="1042558"/>
          </a:xfrm>
          <a:prstGeom prst="rect">
            <a:avLst/>
          </a:prstGeom>
        </p:spPr>
      </p:pic>
      <p:pic>
        <p:nvPicPr>
          <p:cNvPr id="6" name="Picture 5" descr="Icon&#10;&#10;Description automatically generated">
            <a:extLst>
              <a:ext uri="{FF2B5EF4-FFF2-40B4-BE49-F238E27FC236}">
                <a16:creationId xmlns:a16="http://schemas.microsoft.com/office/drawing/2014/main" id="{F48EFBB5-4873-D241-B289-F0F66E1F900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09933" y="4597650"/>
            <a:ext cx="825500" cy="1600200"/>
          </a:xfrm>
          <a:prstGeom prst="rect">
            <a:avLst/>
          </a:prstGeom>
        </p:spPr>
      </p:pic>
      <p:pic>
        <p:nvPicPr>
          <p:cNvPr id="425" name="Picture 424" descr="Icon&#10;&#10;Description automatically generated">
            <a:extLst>
              <a:ext uri="{FF2B5EF4-FFF2-40B4-BE49-F238E27FC236}">
                <a16:creationId xmlns:a16="http://schemas.microsoft.com/office/drawing/2014/main" id="{AE2AB773-7C1B-4047-8049-9454A419E64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2643" y="4942061"/>
            <a:ext cx="651605" cy="1263112"/>
          </a:xfrm>
          <a:prstGeom prst="rect">
            <a:avLst/>
          </a:prstGeom>
        </p:spPr>
      </p:pic>
      <p:pic>
        <p:nvPicPr>
          <p:cNvPr id="429" name="Picture 428" descr="Icon&#10;&#10;Description automatically generated">
            <a:extLst>
              <a:ext uri="{FF2B5EF4-FFF2-40B4-BE49-F238E27FC236}">
                <a16:creationId xmlns:a16="http://schemas.microsoft.com/office/drawing/2014/main" id="{B349E061-B8B7-AF46-873E-5DC8C5599B2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568995" y="4417180"/>
            <a:ext cx="923076" cy="1789348"/>
          </a:xfrm>
          <a:prstGeom prst="rect">
            <a:avLst/>
          </a:prstGeom>
        </p:spPr>
      </p:pic>
      <p:pic>
        <p:nvPicPr>
          <p:cNvPr id="8" name="Picture 7" descr="A picture containing logo&#10;&#10;Description automatically generated">
            <a:extLst>
              <a:ext uri="{FF2B5EF4-FFF2-40B4-BE49-F238E27FC236}">
                <a16:creationId xmlns:a16="http://schemas.microsoft.com/office/drawing/2014/main" id="{18FA9027-78E5-FB43-AE7D-7C872C8CA6F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07551" y="5567171"/>
            <a:ext cx="1867194" cy="801306"/>
          </a:xfrm>
          <a:prstGeom prst="rect">
            <a:avLst/>
          </a:prstGeom>
        </p:spPr>
      </p:pic>
    </p:spTree>
    <p:extLst>
      <p:ext uri="{BB962C8B-B14F-4D97-AF65-F5344CB8AC3E}">
        <p14:creationId xmlns:p14="http://schemas.microsoft.com/office/powerpoint/2010/main" val="3106453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128"/>
                                        </p:tgtEl>
                                        <p:attrNameLst>
                                          <p:attrName>style.visibility</p:attrName>
                                        </p:attrNameLst>
                                      </p:cBhvr>
                                      <p:to>
                                        <p:strVal val="visible"/>
                                      </p:to>
                                    </p:set>
                                    <p:animEffect transition="in" filter="blinds(horizontal)">
                                      <p:cBhvr>
                                        <p:cTn id="7" dur="500"/>
                                        <p:tgtEl>
                                          <p:spTgt spid="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457200" indent="-457200">
              <a:buAutoNum type="arabicPeriod"/>
            </a:pPr>
            <a:r>
              <a:rPr lang="en-GB" b="1" dirty="0"/>
              <a:t>Innovation Fund in a nutshell</a:t>
            </a:r>
          </a:p>
          <a:p>
            <a:pPr marL="457200" indent="-457200">
              <a:buAutoNum type="arabicPeriod"/>
            </a:pPr>
            <a:r>
              <a:rPr lang="en-GB" b="1" dirty="0"/>
              <a:t>Political context</a:t>
            </a:r>
          </a:p>
          <a:p>
            <a:pPr marL="457200" indent="-457200">
              <a:buAutoNum type="arabicPeriod"/>
            </a:pPr>
            <a:r>
              <a:rPr lang="en-GB" b="1" dirty="0"/>
              <a:t>Large- and small-scale calls for proposals</a:t>
            </a:r>
          </a:p>
          <a:p>
            <a:pPr marL="457200" indent="-457200">
              <a:buAutoNum type="arabicPeriod"/>
            </a:pPr>
            <a:r>
              <a:rPr lang="en-GB" b="1" dirty="0"/>
              <a:t>Auctions</a:t>
            </a:r>
          </a:p>
          <a:p>
            <a:pPr marL="457200" indent="-457200">
              <a:buAutoNum type="arabicPeriod"/>
            </a:pPr>
            <a:r>
              <a:rPr lang="en-GB" b="1" dirty="0"/>
              <a:t>Next steps</a:t>
            </a:r>
          </a:p>
        </p:txBody>
      </p:sp>
      <p:sp>
        <p:nvSpPr>
          <p:cNvPr id="3" name="Title 2"/>
          <p:cNvSpPr>
            <a:spLocks noGrp="1"/>
          </p:cNvSpPr>
          <p:nvPr>
            <p:ph type="title"/>
          </p:nvPr>
        </p:nvSpPr>
        <p:spPr/>
        <p:txBody>
          <a:bodyPr/>
          <a:lstStyle/>
          <a:p>
            <a:r>
              <a:rPr lang="fr-BE" dirty="0" err="1"/>
              <a:t>Outline</a:t>
            </a:r>
            <a:r>
              <a:rPr lang="fr-BE" dirty="0"/>
              <a:t> of </a:t>
            </a:r>
            <a:r>
              <a:rPr lang="fr-BE" dirty="0" err="1"/>
              <a:t>presenation</a:t>
            </a:r>
            <a:endParaRPr lang="fr-BE" dirty="0"/>
          </a:p>
        </p:txBody>
      </p:sp>
    </p:spTree>
    <p:extLst>
      <p:ext uri="{BB962C8B-B14F-4D97-AF65-F5344CB8AC3E}">
        <p14:creationId xmlns:p14="http://schemas.microsoft.com/office/powerpoint/2010/main" val="3426648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Graphical user interface, application&#10;&#10;Description automatically generated">
            <a:extLst>
              <a:ext uri="{FF2B5EF4-FFF2-40B4-BE49-F238E27FC236}">
                <a16:creationId xmlns:a16="http://schemas.microsoft.com/office/drawing/2014/main" id="{BF49C2B4-9798-5FA4-CAEA-3BD7B1C88AE1}"/>
              </a:ext>
            </a:extLst>
          </p:cNvPr>
          <p:cNvPicPr>
            <a:picLocks noChangeAspect="1"/>
          </p:cNvPicPr>
          <p:nvPr/>
        </p:nvPicPr>
        <p:blipFill>
          <a:blip r:embed="rId3"/>
          <a:stretch>
            <a:fillRect/>
          </a:stretch>
        </p:blipFill>
        <p:spPr>
          <a:xfrm>
            <a:off x="-2209" y="-5922"/>
            <a:ext cx="12190857" cy="6865986"/>
          </a:xfrm>
          <a:prstGeom prst="rect">
            <a:avLst/>
          </a:prstGeom>
        </p:spPr>
      </p:pic>
    </p:spTree>
    <p:extLst>
      <p:ext uri="{BB962C8B-B14F-4D97-AF65-F5344CB8AC3E}">
        <p14:creationId xmlns:p14="http://schemas.microsoft.com/office/powerpoint/2010/main" val="13938566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nvGraphicFramePr>
        <p:xfrm>
          <a:off x="704105" y="1544075"/>
          <a:ext cx="10573495" cy="4611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nvGraphicFramePr>
        <p:xfrm>
          <a:off x="884713" y="5823207"/>
          <a:ext cx="11222824" cy="86030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Right Arrow 2"/>
          <p:cNvSpPr/>
          <p:nvPr/>
        </p:nvSpPr>
        <p:spPr>
          <a:xfrm>
            <a:off x="838200" y="1363663"/>
            <a:ext cx="7132638" cy="11033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IE"/>
              <a:t>Technology Readiness Level</a:t>
            </a:r>
          </a:p>
        </p:txBody>
      </p:sp>
      <p:sp>
        <p:nvSpPr>
          <p:cNvPr id="8" name="Right Arrow 7"/>
          <p:cNvSpPr/>
          <p:nvPr/>
        </p:nvSpPr>
        <p:spPr>
          <a:xfrm>
            <a:off x="2648606" y="4816475"/>
            <a:ext cx="8927443" cy="1152525"/>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IE"/>
              <a:t>Commercial readiness level</a:t>
            </a:r>
          </a:p>
        </p:txBody>
      </p:sp>
      <p:sp>
        <p:nvSpPr>
          <p:cNvPr id="9" name="TextBox 8"/>
          <p:cNvSpPr txBox="1"/>
          <p:nvPr/>
        </p:nvSpPr>
        <p:spPr>
          <a:xfrm>
            <a:off x="1158875" y="2120900"/>
            <a:ext cx="5951538" cy="368300"/>
          </a:xfrm>
          <a:prstGeom prst="rect">
            <a:avLst/>
          </a:prstGeom>
          <a:noFill/>
        </p:spPr>
        <p:txBody>
          <a:bodyPr>
            <a:spAutoFit/>
          </a:bodyPr>
          <a:lstStyle/>
          <a:p>
            <a:pPr eaLnBrk="1" fontAlgn="auto" hangingPunct="1">
              <a:spcBef>
                <a:spcPts val="0"/>
              </a:spcBef>
              <a:spcAft>
                <a:spcPts val="0"/>
              </a:spcAft>
              <a:defRPr/>
            </a:pPr>
            <a:r>
              <a:rPr lang="en-IE" b="1" i="1">
                <a:solidFill>
                  <a:schemeClr val="accent1">
                    <a:lumMod val="50000"/>
                  </a:schemeClr>
                </a:solidFill>
                <a:effectLst>
                  <a:outerShdw blurRad="38100" dist="38100" dir="2700000" algn="tl">
                    <a:srgbClr val="000000">
                      <a:alpha val="43137"/>
                    </a:srgbClr>
                  </a:outerShdw>
                </a:effectLst>
                <a:latin typeface="+mn-lt"/>
              </a:rPr>
              <a:t>1         2         3         4         5         6         7         8         9</a:t>
            </a:r>
          </a:p>
        </p:txBody>
      </p:sp>
      <p:sp>
        <p:nvSpPr>
          <p:cNvPr id="10" name="TextBox 9"/>
          <p:cNvSpPr txBox="1"/>
          <p:nvPr/>
        </p:nvSpPr>
        <p:spPr>
          <a:xfrm>
            <a:off x="2171700" y="4773613"/>
            <a:ext cx="9272588" cy="368300"/>
          </a:xfrm>
          <a:prstGeom prst="rect">
            <a:avLst/>
          </a:prstGeom>
          <a:noFill/>
        </p:spPr>
        <p:txBody>
          <a:bodyPr>
            <a:spAutoFit/>
          </a:bodyPr>
          <a:lstStyle/>
          <a:p>
            <a:pPr eaLnBrk="1" fontAlgn="auto" hangingPunct="1">
              <a:spcBef>
                <a:spcPts val="0"/>
              </a:spcBef>
              <a:spcAft>
                <a:spcPts val="0"/>
              </a:spcAft>
              <a:defRPr/>
            </a:pPr>
            <a:r>
              <a:rPr lang="en-IE" b="1" i="1">
                <a:solidFill>
                  <a:srgbClr val="C00000"/>
                </a:solidFill>
                <a:effectLst>
                  <a:outerShdw blurRad="38100" dist="38100" dir="2700000" algn="tl">
                    <a:srgbClr val="000000">
                      <a:alpha val="43137"/>
                    </a:srgbClr>
                  </a:outerShdw>
                </a:effectLst>
                <a:latin typeface="+mn-lt"/>
              </a:rPr>
              <a:t>1   				 2            3            4             5           6        </a:t>
            </a:r>
          </a:p>
        </p:txBody>
      </p:sp>
      <p:sp>
        <p:nvSpPr>
          <p:cNvPr id="12" name="Left Brace 11"/>
          <p:cNvSpPr/>
          <p:nvPr/>
        </p:nvSpPr>
        <p:spPr>
          <a:xfrm rot="16200000">
            <a:off x="5743576" y="1279525"/>
            <a:ext cx="296862" cy="2566987"/>
          </a:xfrm>
          <a:prstGeom prst="leftBrace">
            <a:avLst>
              <a:gd name="adj1" fmla="val 5769"/>
              <a:gd name="adj2" fmla="val 82861"/>
            </a:avLst>
          </a:prstGeom>
          <a:ln w="28575"/>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IE"/>
          </a:p>
        </p:txBody>
      </p:sp>
      <p:sp>
        <p:nvSpPr>
          <p:cNvPr id="13" name="Left Brace 12"/>
          <p:cNvSpPr/>
          <p:nvPr/>
        </p:nvSpPr>
        <p:spPr>
          <a:xfrm rot="5400000">
            <a:off x="7169040" y="3130659"/>
            <a:ext cx="280987" cy="3122394"/>
          </a:xfrm>
          <a:prstGeom prst="leftBrace">
            <a:avLst>
              <a:gd name="adj1" fmla="val 0"/>
              <a:gd name="adj2" fmla="val 80507"/>
            </a:avLst>
          </a:prstGeom>
          <a:ln w="28575">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IE"/>
          </a:p>
        </p:txBody>
      </p:sp>
      <p:sp>
        <p:nvSpPr>
          <p:cNvPr id="37899" name="TextBox 13"/>
          <p:cNvSpPr txBox="1">
            <a:spLocks noChangeArrowheads="1"/>
          </p:cNvSpPr>
          <p:nvPr/>
        </p:nvSpPr>
        <p:spPr bwMode="auto">
          <a:xfrm>
            <a:off x="88900" y="6496050"/>
            <a:ext cx="29622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IE" altLang="en-US" sz="1000" i="1">
                <a:solidFill>
                  <a:srgbClr val="C00000"/>
                </a:solidFill>
              </a:rPr>
              <a:t>TRL &amp; CRL are indicative</a:t>
            </a:r>
          </a:p>
        </p:txBody>
      </p:sp>
      <p:sp>
        <p:nvSpPr>
          <p:cNvPr id="14" name="Title 2"/>
          <p:cNvSpPr txBox="1">
            <a:spLocks/>
          </p:cNvSpPr>
          <p:nvPr/>
        </p:nvSpPr>
        <p:spPr bwMode="auto">
          <a:xfrm>
            <a:off x="928688" y="468978"/>
            <a:ext cx="105156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0" numCol="1" rtlCol="0" anchor="b" anchorCtr="0" compatLnSpc="1">
            <a:prstTxWarp prst="textNoShape">
              <a:avLst/>
            </a:prstTxWarp>
            <a:noAutofit/>
          </a:bodyPr>
          <a:lstStyle>
            <a:lvl1pPr algn="l" rtl="0" fontAlgn="base">
              <a:lnSpc>
                <a:spcPct val="90000"/>
              </a:lnSpc>
              <a:spcBef>
                <a:spcPct val="0"/>
              </a:spcBef>
              <a:spcAft>
                <a:spcPct val="0"/>
              </a:spcAft>
              <a:defRPr sz="4000" kern="1200">
                <a:solidFill>
                  <a:schemeClr val="tx2"/>
                </a:solidFill>
                <a:latin typeface="+mj-lt"/>
                <a:ea typeface="+mj-ea"/>
                <a:cs typeface="+mj-cs"/>
              </a:defRPr>
            </a:lvl1pPr>
            <a:lvl2pPr algn="l" rtl="0" fontAlgn="base">
              <a:lnSpc>
                <a:spcPct val="90000"/>
              </a:lnSpc>
              <a:spcBef>
                <a:spcPct val="0"/>
              </a:spcBef>
              <a:spcAft>
                <a:spcPct val="0"/>
              </a:spcAft>
              <a:defRPr sz="4000">
                <a:solidFill>
                  <a:schemeClr val="tx2"/>
                </a:solidFill>
                <a:latin typeface="Arial" panose="020B0604020202020204" pitchFamily="34" charset="0"/>
              </a:defRPr>
            </a:lvl2pPr>
            <a:lvl3pPr algn="l" rtl="0" fontAlgn="base">
              <a:lnSpc>
                <a:spcPct val="90000"/>
              </a:lnSpc>
              <a:spcBef>
                <a:spcPct val="0"/>
              </a:spcBef>
              <a:spcAft>
                <a:spcPct val="0"/>
              </a:spcAft>
              <a:defRPr sz="4000">
                <a:solidFill>
                  <a:schemeClr val="tx2"/>
                </a:solidFill>
                <a:latin typeface="Arial" panose="020B0604020202020204" pitchFamily="34" charset="0"/>
              </a:defRPr>
            </a:lvl3pPr>
            <a:lvl4pPr algn="l" rtl="0" fontAlgn="base">
              <a:lnSpc>
                <a:spcPct val="90000"/>
              </a:lnSpc>
              <a:spcBef>
                <a:spcPct val="0"/>
              </a:spcBef>
              <a:spcAft>
                <a:spcPct val="0"/>
              </a:spcAft>
              <a:defRPr sz="4000">
                <a:solidFill>
                  <a:schemeClr val="tx2"/>
                </a:solidFill>
                <a:latin typeface="Arial" panose="020B0604020202020204" pitchFamily="34" charset="0"/>
              </a:defRPr>
            </a:lvl4pPr>
            <a:lvl5pPr algn="l" rtl="0" fontAlgn="base">
              <a:lnSpc>
                <a:spcPct val="90000"/>
              </a:lnSpc>
              <a:spcBef>
                <a:spcPct val="0"/>
              </a:spcBef>
              <a:spcAft>
                <a:spcPct val="0"/>
              </a:spcAft>
              <a:defRPr sz="4000">
                <a:solidFill>
                  <a:schemeClr val="tx2"/>
                </a:solidFill>
                <a:latin typeface="Arial" panose="020B0604020202020204" pitchFamily="34" charset="0"/>
              </a:defRPr>
            </a:lvl5pPr>
            <a:lvl6pPr marL="457200" algn="l" rtl="0" fontAlgn="base">
              <a:lnSpc>
                <a:spcPct val="90000"/>
              </a:lnSpc>
              <a:spcBef>
                <a:spcPct val="0"/>
              </a:spcBef>
              <a:spcAft>
                <a:spcPct val="0"/>
              </a:spcAft>
              <a:defRPr sz="4000">
                <a:solidFill>
                  <a:schemeClr val="tx2"/>
                </a:solidFill>
                <a:latin typeface="Arial" panose="020B0604020202020204" pitchFamily="34" charset="0"/>
              </a:defRPr>
            </a:lvl6pPr>
            <a:lvl7pPr marL="914400" algn="l" rtl="0" fontAlgn="base">
              <a:lnSpc>
                <a:spcPct val="90000"/>
              </a:lnSpc>
              <a:spcBef>
                <a:spcPct val="0"/>
              </a:spcBef>
              <a:spcAft>
                <a:spcPct val="0"/>
              </a:spcAft>
              <a:defRPr sz="4000">
                <a:solidFill>
                  <a:schemeClr val="tx2"/>
                </a:solidFill>
                <a:latin typeface="Arial" panose="020B0604020202020204" pitchFamily="34" charset="0"/>
              </a:defRPr>
            </a:lvl7pPr>
            <a:lvl8pPr marL="1371600" algn="l" rtl="0" fontAlgn="base">
              <a:lnSpc>
                <a:spcPct val="90000"/>
              </a:lnSpc>
              <a:spcBef>
                <a:spcPct val="0"/>
              </a:spcBef>
              <a:spcAft>
                <a:spcPct val="0"/>
              </a:spcAft>
              <a:defRPr sz="4000">
                <a:solidFill>
                  <a:schemeClr val="tx2"/>
                </a:solidFill>
                <a:latin typeface="Arial" panose="020B0604020202020204" pitchFamily="34" charset="0"/>
              </a:defRPr>
            </a:lvl8pPr>
            <a:lvl9pPr marL="1828800" algn="l" rtl="0" fontAlgn="base">
              <a:lnSpc>
                <a:spcPct val="90000"/>
              </a:lnSpc>
              <a:spcBef>
                <a:spcPct val="0"/>
              </a:spcBef>
              <a:spcAft>
                <a:spcPct val="0"/>
              </a:spcAft>
              <a:defRPr sz="4000">
                <a:solidFill>
                  <a:schemeClr val="tx2"/>
                </a:solidFill>
                <a:latin typeface="Arial" panose="020B0604020202020204" pitchFamily="34" charset="0"/>
              </a:defRPr>
            </a:lvl9pPr>
          </a:lstStyle>
          <a:p>
            <a:r>
              <a:rPr lang="fr-BE" altLang="en-US"/>
              <a:t>Innovation Fund – </a:t>
            </a:r>
            <a:r>
              <a:rPr lang="fr-BE" altLang="en-US" err="1"/>
              <a:t>targeted</a:t>
            </a:r>
            <a:r>
              <a:rPr lang="fr-BE" altLang="en-US"/>
              <a:t> </a:t>
            </a:r>
            <a:r>
              <a:rPr lang="fr-BE" altLang="en-US" err="1"/>
              <a:t>project</a:t>
            </a:r>
            <a:r>
              <a:rPr lang="fr-BE" altLang="en-US"/>
              <a:t> portfolio</a:t>
            </a:r>
            <a:endParaRPr lang="en-IE" altLang="en-US"/>
          </a:p>
        </p:txBody>
      </p:sp>
      <p:sp>
        <p:nvSpPr>
          <p:cNvPr id="15" name="Left Brace 14"/>
          <p:cNvSpPr/>
          <p:nvPr/>
        </p:nvSpPr>
        <p:spPr>
          <a:xfrm rot="5400000">
            <a:off x="6364930" y="4091018"/>
            <a:ext cx="269741" cy="1351401"/>
          </a:xfrm>
          <a:prstGeom prst="leftBrace">
            <a:avLst>
              <a:gd name="adj1" fmla="val 0"/>
              <a:gd name="adj2" fmla="val 46917"/>
            </a:avLst>
          </a:prstGeom>
          <a:ln/>
        </p:spPr>
        <p:style>
          <a:lnRef idx="3">
            <a:schemeClr val="accent5"/>
          </a:lnRef>
          <a:fillRef idx="0">
            <a:schemeClr val="accent5"/>
          </a:fillRef>
          <a:effectRef idx="2">
            <a:schemeClr val="accent5"/>
          </a:effectRef>
          <a:fontRef idx="minor">
            <a:schemeClr val="tx1"/>
          </a:fontRef>
        </p:style>
        <p:txBody>
          <a:bodyPr anchor="ctr"/>
          <a:lstStyle/>
          <a:p>
            <a:pPr algn="ctr" eaLnBrk="1" fontAlgn="auto" hangingPunct="1">
              <a:spcBef>
                <a:spcPts val="0"/>
              </a:spcBef>
              <a:spcAft>
                <a:spcPts val="0"/>
              </a:spcAft>
              <a:defRPr/>
            </a:pPr>
            <a:endParaRPr lang="en-IE">
              <a:solidFill>
                <a:srgbClr val="024EA2"/>
              </a:solidFill>
            </a:endParaRPr>
          </a:p>
        </p:txBody>
      </p:sp>
    </p:spTree>
    <p:extLst>
      <p:ext uri="{BB962C8B-B14F-4D97-AF65-F5344CB8AC3E}">
        <p14:creationId xmlns:p14="http://schemas.microsoft.com/office/powerpoint/2010/main" val="2083134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Innovation Fund results in a glance</a:t>
            </a:r>
            <a:endParaRPr lang="en-IE"/>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9" y="0"/>
            <a:ext cx="12184601" cy="6858000"/>
          </a:xfrm>
          <a:prstGeom prst="rect">
            <a:avLst/>
          </a:prstGeom>
        </p:spPr>
      </p:pic>
    </p:spTree>
    <p:extLst>
      <p:ext uri="{BB962C8B-B14F-4D97-AF65-F5344CB8AC3E}">
        <p14:creationId xmlns:p14="http://schemas.microsoft.com/office/powerpoint/2010/main" val="24746286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0DE8E9-FA7C-C1B4-9746-6DFE5CF6980C}"/>
              </a:ext>
            </a:extLst>
          </p:cNvPr>
          <p:cNvSpPr>
            <a:spLocks noGrp="1"/>
          </p:cNvSpPr>
          <p:nvPr>
            <p:ph idx="1"/>
          </p:nvPr>
        </p:nvSpPr>
        <p:spPr>
          <a:xfrm>
            <a:off x="862853" y="1586847"/>
            <a:ext cx="10905699" cy="4460876"/>
          </a:xfrm>
        </p:spPr>
        <p:txBody>
          <a:bodyPr lIns="91440" tIns="45720" rIns="91440" bIns="45720" anchor="t">
            <a:noAutofit/>
          </a:bodyPr>
          <a:lstStyle/>
          <a:p>
            <a:pPr marL="0" indent="0">
              <a:buNone/>
            </a:pPr>
            <a:r>
              <a:rPr lang="en-US" dirty="0">
                <a:cs typeface="Arial"/>
              </a:rPr>
              <a:t>Revised ETS Directive includes changes on:</a:t>
            </a:r>
            <a:endParaRPr lang="en-US" dirty="0"/>
          </a:p>
          <a:p>
            <a:pPr marL="914400" lvl="1" indent="-457200">
              <a:buAutoNum type="arabicPeriod"/>
            </a:pPr>
            <a:r>
              <a:rPr lang="en-US" sz="2200" dirty="0">
                <a:cs typeface="Arial"/>
              </a:rPr>
              <a:t>The overall size of the Innovation Fund </a:t>
            </a:r>
            <a:r>
              <a:rPr lang="en-US" sz="2200" dirty="0">
                <a:ea typeface="+mn-lt"/>
                <a:cs typeface="+mn-lt"/>
              </a:rPr>
              <a:t>increase from 450 million ETS allowances to ca. 530 million ETS allowances.</a:t>
            </a:r>
          </a:p>
          <a:p>
            <a:pPr marL="914400" lvl="1" indent="-457200">
              <a:buAutoNum type="arabicPeriod"/>
            </a:pPr>
            <a:r>
              <a:rPr lang="en-US" sz="2200" dirty="0">
                <a:cs typeface="Arial"/>
              </a:rPr>
              <a:t>Scope changes: new sectors (e.g. Maritime); medium scale projects; DNSH from 2025; stronger reference to multiple environmental impacts</a:t>
            </a:r>
          </a:p>
          <a:p>
            <a:pPr marL="914400" lvl="1" indent="-457200">
              <a:buAutoNum type="arabicPeriod"/>
            </a:pPr>
            <a:r>
              <a:rPr lang="en-US" sz="2200" dirty="0">
                <a:cs typeface="Arial"/>
              </a:rPr>
              <a:t>The introduction of new financial instruments under the Fund (“Competitive Bidding”):  Fixed premium, Contracts for Difference (</a:t>
            </a:r>
            <a:r>
              <a:rPr lang="en-US" sz="2200" dirty="0" err="1">
                <a:cs typeface="Arial"/>
              </a:rPr>
              <a:t>CfDs</a:t>
            </a:r>
            <a:r>
              <a:rPr lang="en-US" sz="2200" dirty="0">
                <a:cs typeface="Arial"/>
              </a:rPr>
              <a:t>) or Carbon Contracts for Difference (</a:t>
            </a:r>
            <a:r>
              <a:rPr lang="en-US" sz="2200" dirty="0" err="1">
                <a:cs typeface="Arial"/>
              </a:rPr>
              <a:t>CCfDs</a:t>
            </a:r>
            <a:r>
              <a:rPr lang="en-US" sz="2200" dirty="0">
                <a:cs typeface="Arial"/>
              </a:rPr>
              <a:t>), covering up to 100% of the funding gap</a:t>
            </a:r>
          </a:p>
          <a:p>
            <a:pPr marL="914400" lvl="1" indent="-457200">
              <a:buAutoNum type="arabicPeriod"/>
            </a:pPr>
            <a:r>
              <a:rPr lang="en-US" sz="2200" dirty="0">
                <a:cs typeface="Arial"/>
              </a:rPr>
              <a:t>Stronger attention to geographical balance</a:t>
            </a:r>
            <a:endParaRPr lang="en-US" sz="2200" dirty="0"/>
          </a:p>
          <a:p>
            <a:endParaRPr lang="en-US" dirty="0">
              <a:cs typeface="Arial"/>
            </a:endParaRPr>
          </a:p>
        </p:txBody>
      </p:sp>
      <p:sp>
        <p:nvSpPr>
          <p:cNvPr id="3" name="Title 2">
            <a:extLst>
              <a:ext uri="{FF2B5EF4-FFF2-40B4-BE49-F238E27FC236}">
                <a16:creationId xmlns:a16="http://schemas.microsoft.com/office/drawing/2014/main" id="{9739BD08-943D-93F7-4D32-8444A79E23DF}"/>
              </a:ext>
            </a:extLst>
          </p:cNvPr>
          <p:cNvSpPr>
            <a:spLocks noGrp="1"/>
          </p:cNvSpPr>
          <p:nvPr>
            <p:ph type="title"/>
          </p:nvPr>
        </p:nvSpPr>
        <p:spPr/>
        <p:txBody>
          <a:bodyPr/>
          <a:lstStyle/>
          <a:p>
            <a:r>
              <a:rPr lang="en-US">
                <a:ea typeface="+mj-lt"/>
                <a:cs typeface="+mj-lt"/>
              </a:rPr>
              <a:t>Key changes to the Innovation Fund following the ETS Directive revision</a:t>
            </a:r>
            <a:endParaRPr lang="en-US"/>
          </a:p>
        </p:txBody>
      </p:sp>
      <p:pic>
        <p:nvPicPr>
          <p:cNvPr id="8" name="Picture 8" descr="Icon&#10;&#10;Description automatically generated">
            <a:extLst>
              <a:ext uri="{FF2B5EF4-FFF2-40B4-BE49-F238E27FC236}">
                <a16:creationId xmlns:a16="http://schemas.microsoft.com/office/drawing/2014/main" id="{F0D718CA-231D-A3D4-B484-7740723FB530}"/>
              </a:ext>
            </a:extLst>
          </p:cNvPr>
          <p:cNvPicPr>
            <a:picLocks noChangeAspect="1"/>
          </p:cNvPicPr>
          <p:nvPr/>
        </p:nvPicPr>
        <p:blipFill>
          <a:blip r:embed="rId2"/>
          <a:stretch>
            <a:fillRect/>
          </a:stretch>
        </p:blipFill>
        <p:spPr>
          <a:xfrm>
            <a:off x="574022" y="2198782"/>
            <a:ext cx="619125" cy="590550"/>
          </a:xfrm>
          <a:prstGeom prst="rect">
            <a:avLst/>
          </a:prstGeom>
        </p:spPr>
      </p:pic>
      <p:pic>
        <p:nvPicPr>
          <p:cNvPr id="9" name="Picture 9" descr="Diagram&#10;&#10;Description automatically generated">
            <a:extLst>
              <a:ext uri="{FF2B5EF4-FFF2-40B4-BE49-F238E27FC236}">
                <a16:creationId xmlns:a16="http://schemas.microsoft.com/office/drawing/2014/main" id="{E6106A89-33EB-B018-C804-4140481D139D}"/>
              </a:ext>
            </a:extLst>
          </p:cNvPr>
          <p:cNvPicPr>
            <a:picLocks noChangeAspect="1"/>
          </p:cNvPicPr>
          <p:nvPr/>
        </p:nvPicPr>
        <p:blipFill>
          <a:blip r:embed="rId3"/>
          <a:stretch>
            <a:fillRect/>
          </a:stretch>
        </p:blipFill>
        <p:spPr>
          <a:xfrm>
            <a:off x="554972" y="3179110"/>
            <a:ext cx="638175" cy="638175"/>
          </a:xfrm>
          <a:prstGeom prst="rect">
            <a:avLst/>
          </a:prstGeom>
        </p:spPr>
      </p:pic>
      <p:pic>
        <p:nvPicPr>
          <p:cNvPr id="10" name="Picture 10">
            <a:extLst>
              <a:ext uri="{FF2B5EF4-FFF2-40B4-BE49-F238E27FC236}">
                <a16:creationId xmlns:a16="http://schemas.microsoft.com/office/drawing/2014/main" id="{7C6E0655-312C-7BBF-3CC4-F0426B438906}"/>
              </a:ext>
            </a:extLst>
          </p:cNvPr>
          <p:cNvPicPr>
            <a:picLocks noChangeAspect="1"/>
          </p:cNvPicPr>
          <p:nvPr/>
        </p:nvPicPr>
        <p:blipFill>
          <a:blip r:embed="rId4"/>
          <a:stretch>
            <a:fillRect/>
          </a:stretch>
        </p:blipFill>
        <p:spPr>
          <a:xfrm>
            <a:off x="391365" y="4138915"/>
            <a:ext cx="942975" cy="885825"/>
          </a:xfrm>
          <a:prstGeom prst="rect">
            <a:avLst/>
          </a:prstGeom>
        </p:spPr>
      </p:pic>
      <p:pic>
        <p:nvPicPr>
          <p:cNvPr id="11" name="Picture 11" descr="A picture containing mask&#10;&#10;Description automatically generated">
            <a:extLst>
              <a:ext uri="{FF2B5EF4-FFF2-40B4-BE49-F238E27FC236}">
                <a16:creationId xmlns:a16="http://schemas.microsoft.com/office/drawing/2014/main" id="{7E4020E7-7E70-6FBC-56C5-7B35D23A3BA8}"/>
              </a:ext>
            </a:extLst>
          </p:cNvPr>
          <p:cNvPicPr>
            <a:picLocks noChangeAspect="1"/>
          </p:cNvPicPr>
          <p:nvPr/>
        </p:nvPicPr>
        <p:blipFill>
          <a:blip r:embed="rId5"/>
          <a:stretch>
            <a:fillRect/>
          </a:stretch>
        </p:blipFill>
        <p:spPr>
          <a:xfrm>
            <a:off x="481852" y="5354101"/>
            <a:ext cx="762000" cy="762000"/>
          </a:xfrm>
          <a:prstGeom prst="rect">
            <a:avLst/>
          </a:prstGeom>
        </p:spPr>
      </p:pic>
    </p:spTree>
    <p:extLst>
      <p:ext uri="{BB962C8B-B14F-4D97-AF65-F5344CB8AC3E}">
        <p14:creationId xmlns:p14="http://schemas.microsoft.com/office/powerpoint/2010/main" val="23465990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5464196" y="2167467"/>
            <a:ext cx="6598514" cy="2788657"/>
          </a:xfrm>
          <a:prstGeom prst="rect">
            <a:avLst/>
          </a:prstGeom>
        </p:spPr>
      </p:pic>
      <p:sp>
        <p:nvSpPr>
          <p:cNvPr id="5" name="Content Placeholder 1"/>
          <p:cNvSpPr>
            <a:spLocks noGrp="1"/>
          </p:cNvSpPr>
          <p:nvPr>
            <p:ph idx="1"/>
          </p:nvPr>
        </p:nvSpPr>
        <p:spPr>
          <a:xfrm>
            <a:off x="970722" y="1703161"/>
            <a:ext cx="4394810" cy="4446762"/>
          </a:xfrm>
        </p:spPr>
        <p:txBody>
          <a:bodyPr/>
          <a:lstStyle/>
          <a:p>
            <a:pPr marL="0" indent="0">
              <a:spcAft>
                <a:spcPts val="0"/>
              </a:spcAft>
              <a:buNone/>
            </a:pPr>
            <a:r>
              <a:rPr lang="en-GB" sz="1800" b="1" i="0" dirty="0" err="1"/>
              <a:t>REPowerEU</a:t>
            </a:r>
            <a:r>
              <a:rPr lang="en-GB" sz="1800" b="1" i="0" dirty="0"/>
              <a:t> Plan:</a:t>
            </a:r>
          </a:p>
          <a:p>
            <a:pPr marL="0" indent="0">
              <a:spcAft>
                <a:spcPts val="0"/>
              </a:spcAft>
              <a:buNone/>
            </a:pPr>
            <a:endParaRPr lang="en-GB" sz="1800" dirty="0"/>
          </a:p>
          <a:p>
            <a:pPr marL="0" indent="0">
              <a:spcAft>
                <a:spcPts val="0"/>
              </a:spcAft>
              <a:buNone/>
            </a:pPr>
            <a:r>
              <a:rPr lang="en-US" sz="1800" i="1" dirty="0"/>
              <a:t>“To support hydrogen uptake and electrification in industrial sectors, the Commission will roll out carbon contracts for difference and dedicated REPowerEU windows under the Innovation Fund to support a full switch of the existing hydrogen production in industrial processes from </a:t>
            </a:r>
            <a:r>
              <a:rPr lang="en-US" sz="1800" b="1" i="1" dirty="0"/>
              <a:t>natural gas to renewables</a:t>
            </a:r>
            <a:r>
              <a:rPr lang="en-US" sz="1800" i="1" dirty="0"/>
              <a:t> and the transition to </a:t>
            </a:r>
            <a:r>
              <a:rPr lang="en-US" sz="1800" b="1" i="1" dirty="0"/>
              <a:t>hydrogen-based production </a:t>
            </a:r>
            <a:r>
              <a:rPr lang="en-US" sz="1800" i="1" dirty="0"/>
              <a:t>processes in new industrial sectors, such as steel production”</a:t>
            </a:r>
          </a:p>
        </p:txBody>
      </p:sp>
      <p:sp>
        <p:nvSpPr>
          <p:cNvPr id="4" name="Title 3"/>
          <p:cNvSpPr>
            <a:spLocks noGrp="1"/>
          </p:cNvSpPr>
          <p:nvPr>
            <p:ph type="title"/>
          </p:nvPr>
        </p:nvSpPr>
        <p:spPr>
          <a:xfrm>
            <a:off x="970722" y="660911"/>
            <a:ext cx="10515600" cy="782357"/>
          </a:xfrm>
        </p:spPr>
        <p:txBody>
          <a:bodyPr/>
          <a:lstStyle/>
          <a:p>
            <a:r>
              <a:rPr lang="en-US" dirty="0" err="1"/>
              <a:t>RePowerEU</a:t>
            </a:r>
            <a:r>
              <a:rPr lang="en-US" dirty="0"/>
              <a:t> Plan</a:t>
            </a:r>
          </a:p>
        </p:txBody>
      </p:sp>
      <p:sp>
        <p:nvSpPr>
          <p:cNvPr id="10" name="Rectangle 9"/>
          <p:cNvSpPr/>
          <p:nvPr/>
        </p:nvSpPr>
        <p:spPr>
          <a:xfrm>
            <a:off x="9897036" y="3254189"/>
            <a:ext cx="1900517" cy="134470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8854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6" name="Picture 776" descr="Map&#10;&#10;Description automatically generated">
            <a:extLst>
              <a:ext uri="{FF2B5EF4-FFF2-40B4-BE49-F238E27FC236}">
                <a16:creationId xmlns:a16="http://schemas.microsoft.com/office/drawing/2014/main" id="{CC93B179-ACB8-1BE5-7867-48D370972FFF}"/>
              </a:ext>
            </a:extLst>
          </p:cNvPr>
          <p:cNvPicPr>
            <a:picLocks noChangeAspect="1"/>
          </p:cNvPicPr>
          <p:nvPr/>
        </p:nvPicPr>
        <p:blipFill>
          <a:blip r:embed="rId2"/>
          <a:stretch>
            <a:fillRect/>
          </a:stretch>
        </p:blipFill>
        <p:spPr>
          <a:xfrm>
            <a:off x="404036" y="1996808"/>
            <a:ext cx="7374766" cy="4166580"/>
          </a:xfrm>
          <a:prstGeom prst="rect">
            <a:avLst/>
          </a:prstGeom>
          <a:noFill/>
        </p:spPr>
      </p:pic>
      <p:sp>
        <p:nvSpPr>
          <p:cNvPr id="781" name="Content Placeholder 2">
            <a:extLst>
              <a:ext uri="{FF2B5EF4-FFF2-40B4-BE49-F238E27FC236}">
                <a16:creationId xmlns:a16="http://schemas.microsoft.com/office/drawing/2014/main" id="{1525B376-5ACD-A878-3B0C-94D2344D6161}"/>
              </a:ext>
            </a:extLst>
          </p:cNvPr>
          <p:cNvSpPr>
            <a:spLocks noGrp="1"/>
          </p:cNvSpPr>
          <p:nvPr>
            <p:ph sz="half" idx="2"/>
          </p:nvPr>
        </p:nvSpPr>
        <p:spPr>
          <a:xfrm>
            <a:off x="8014854" y="2038276"/>
            <a:ext cx="3715396" cy="4003900"/>
          </a:xfrm>
        </p:spPr>
        <p:style>
          <a:lnRef idx="2">
            <a:schemeClr val="accent2"/>
          </a:lnRef>
          <a:fillRef idx="1">
            <a:schemeClr val="lt1"/>
          </a:fillRef>
          <a:effectRef idx="0">
            <a:schemeClr val="accent2"/>
          </a:effectRef>
          <a:fontRef idx="minor">
            <a:schemeClr val="dk1"/>
          </a:fontRef>
        </p:style>
        <p:txBody>
          <a:bodyPr lIns="91440" tIns="45720" rIns="91440" bIns="45720" anchor="t">
            <a:noAutofit/>
          </a:bodyPr>
          <a:lstStyle/>
          <a:p>
            <a:pPr marL="342900" indent="-342900">
              <a:buChar char="•"/>
            </a:pPr>
            <a:r>
              <a:rPr lang="en-US">
                <a:solidFill>
                  <a:srgbClr val="0070C0"/>
                </a:solidFill>
                <a:cs typeface="Arial"/>
              </a:rPr>
              <a:t>Closed on 16 March 2023</a:t>
            </a:r>
          </a:p>
          <a:p>
            <a:pPr marL="342900" indent="-342900">
              <a:buChar char="•"/>
            </a:pPr>
            <a:r>
              <a:rPr lang="en-US">
                <a:solidFill>
                  <a:srgbClr val="0070C0"/>
                </a:solidFill>
                <a:cs typeface="Arial"/>
              </a:rPr>
              <a:t>6X oversubscription with total funding requested  EUR 18 billion</a:t>
            </a:r>
          </a:p>
          <a:p>
            <a:pPr marL="342900" indent="-342900">
              <a:buChar char="•"/>
            </a:pPr>
            <a:r>
              <a:rPr lang="en-US">
                <a:solidFill>
                  <a:srgbClr val="0070C0"/>
                </a:solidFill>
                <a:cs typeface="Arial"/>
              </a:rPr>
              <a:t>Applicants will be informed about the results mid-July 2023</a:t>
            </a:r>
          </a:p>
        </p:txBody>
      </p:sp>
      <p:sp>
        <p:nvSpPr>
          <p:cNvPr id="2" name="Title 1">
            <a:extLst>
              <a:ext uri="{FF2B5EF4-FFF2-40B4-BE49-F238E27FC236}">
                <a16:creationId xmlns:a16="http://schemas.microsoft.com/office/drawing/2014/main" id="{978E7A09-64AA-5977-6EF8-8D91E17E4618}"/>
              </a:ext>
            </a:extLst>
          </p:cNvPr>
          <p:cNvSpPr>
            <a:spLocks noGrp="1"/>
          </p:cNvSpPr>
          <p:nvPr>
            <p:ph type="title"/>
          </p:nvPr>
        </p:nvSpPr>
        <p:spPr>
          <a:xfrm>
            <a:off x="970722" y="482860"/>
            <a:ext cx="10515600" cy="782357"/>
          </a:xfrm>
        </p:spPr>
        <p:txBody>
          <a:bodyPr wrap="square" anchor="b">
            <a:normAutofit/>
          </a:bodyPr>
          <a:lstStyle/>
          <a:p>
            <a:r>
              <a:rPr lang="en-US"/>
              <a:t>Closure of 3LSC: First results</a:t>
            </a:r>
          </a:p>
        </p:txBody>
      </p:sp>
    </p:spTree>
    <p:extLst>
      <p:ext uri="{BB962C8B-B14F-4D97-AF65-F5344CB8AC3E}">
        <p14:creationId xmlns:p14="http://schemas.microsoft.com/office/powerpoint/2010/main" val="42159016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50930" y="482860"/>
            <a:ext cx="10683833" cy="782357"/>
          </a:xfrm>
        </p:spPr>
        <p:txBody>
          <a:bodyPr/>
          <a:lstStyle/>
          <a:p>
            <a:r>
              <a:rPr lang="fr-BE"/>
              <a:t>2022 </a:t>
            </a:r>
            <a:r>
              <a:rPr lang="fr-BE" err="1"/>
              <a:t>small-scale</a:t>
            </a:r>
            <a:r>
              <a:rPr lang="fr-BE"/>
              <a:t> call for </a:t>
            </a:r>
            <a:r>
              <a:rPr lang="fr-BE" err="1"/>
              <a:t>projects</a:t>
            </a:r>
            <a:r>
              <a:rPr lang="fr-BE"/>
              <a:t>: key </a:t>
            </a:r>
            <a:r>
              <a:rPr lang="fr-BE" err="1"/>
              <a:t>features</a:t>
            </a:r>
            <a:endParaRPr lang="en-IE"/>
          </a:p>
        </p:txBody>
      </p:sp>
      <p:grpSp>
        <p:nvGrpSpPr>
          <p:cNvPr id="35" name="Group 34"/>
          <p:cNvGrpSpPr/>
          <p:nvPr/>
        </p:nvGrpSpPr>
        <p:grpSpPr>
          <a:xfrm>
            <a:off x="955871" y="4715491"/>
            <a:ext cx="4387879" cy="958868"/>
            <a:chOff x="2993914" y="3270232"/>
            <a:chExt cx="4387879" cy="958868"/>
          </a:xfrm>
        </p:grpSpPr>
        <p:sp>
          <p:nvSpPr>
            <p:cNvPr id="36" name="Rounded Rectangle 35"/>
            <p:cNvSpPr/>
            <p:nvPr userDrawn="1"/>
          </p:nvSpPr>
          <p:spPr>
            <a:xfrm>
              <a:off x="3759995" y="3270232"/>
              <a:ext cx="3621798" cy="958868"/>
            </a:xfrm>
            <a:prstGeom prst="roundRect">
              <a:avLst>
                <a:gd name="adj" fmla="val 2012"/>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7" name="Rounded Rectangle 36"/>
            <p:cNvSpPr/>
            <p:nvPr userDrawn="1"/>
          </p:nvSpPr>
          <p:spPr>
            <a:xfrm>
              <a:off x="2993914" y="3336907"/>
              <a:ext cx="882322" cy="825518"/>
            </a:xfrm>
            <a:prstGeom prst="roundRect">
              <a:avLst>
                <a:gd name="adj" fmla="val 2012"/>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8" name="Isosceles Triangle 37"/>
            <p:cNvSpPr>
              <a:spLocks noChangeAspect="1"/>
            </p:cNvSpPr>
            <p:nvPr userDrawn="1"/>
          </p:nvSpPr>
          <p:spPr>
            <a:xfrm rot="5400000">
              <a:off x="3759861" y="3282739"/>
              <a:ext cx="112580" cy="109821"/>
            </a:xfrm>
            <a:prstGeom prst="triangl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Isosceles Triangle 38"/>
            <p:cNvSpPr>
              <a:spLocks noChangeAspect="1"/>
            </p:cNvSpPr>
            <p:nvPr userDrawn="1"/>
          </p:nvSpPr>
          <p:spPr>
            <a:xfrm rot="5400000">
              <a:off x="3759861" y="4105134"/>
              <a:ext cx="112580" cy="109821"/>
            </a:xfrm>
            <a:prstGeom prst="triangle">
              <a:avLst/>
            </a:prstGeom>
            <a:solidFill>
              <a:srgbClr val="ED7D3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0" name="Group 39"/>
          <p:cNvGrpSpPr/>
          <p:nvPr/>
        </p:nvGrpSpPr>
        <p:grpSpPr>
          <a:xfrm>
            <a:off x="995884" y="1580178"/>
            <a:ext cx="4387879" cy="958868"/>
            <a:chOff x="1708120" y="1355014"/>
            <a:chExt cx="4387879" cy="958868"/>
          </a:xfrm>
        </p:grpSpPr>
        <p:grpSp>
          <p:nvGrpSpPr>
            <p:cNvPr id="41" name="Group 40"/>
            <p:cNvGrpSpPr/>
            <p:nvPr userDrawn="1"/>
          </p:nvGrpSpPr>
          <p:grpSpPr>
            <a:xfrm>
              <a:off x="1708120" y="1355014"/>
              <a:ext cx="4387879" cy="958868"/>
              <a:chOff x="2993914" y="3270232"/>
              <a:chExt cx="4387879" cy="958868"/>
            </a:xfrm>
          </p:grpSpPr>
          <p:sp>
            <p:nvSpPr>
              <p:cNvPr id="43" name="Rounded Rectangle 42"/>
              <p:cNvSpPr/>
              <p:nvPr userDrawn="1"/>
            </p:nvSpPr>
            <p:spPr>
              <a:xfrm>
                <a:off x="3759995" y="3270232"/>
                <a:ext cx="3621798" cy="958868"/>
              </a:xfrm>
              <a:prstGeom prst="roundRect">
                <a:avLst>
                  <a:gd name="adj" fmla="val 2012"/>
                </a:avLst>
              </a:prstGeom>
              <a:solidFill>
                <a:srgbClr val="4472C4">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Isosceles Triangle 43"/>
              <p:cNvSpPr>
                <a:spLocks noChangeAspect="1"/>
              </p:cNvSpPr>
              <p:nvPr userDrawn="1"/>
            </p:nvSpPr>
            <p:spPr>
              <a:xfrm rot="5400000">
                <a:off x="3759861" y="3282739"/>
                <a:ext cx="112580" cy="109821"/>
              </a:xfrm>
              <a:prstGeom prst="triangle">
                <a:avLst/>
              </a:prstGeom>
              <a:solidFill>
                <a:srgbClr val="4472C4">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Isosceles Triangle 44"/>
              <p:cNvSpPr>
                <a:spLocks noChangeAspect="1"/>
              </p:cNvSpPr>
              <p:nvPr userDrawn="1"/>
            </p:nvSpPr>
            <p:spPr>
              <a:xfrm rot="5400000">
                <a:off x="3759861" y="4105134"/>
                <a:ext cx="112580" cy="109821"/>
              </a:xfrm>
              <a:prstGeom prst="triangle">
                <a:avLst/>
              </a:prstGeom>
              <a:solidFill>
                <a:srgbClr val="4472C4">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6" name="Rounded Rectangle 45"/>
              <p:cNvSpPr/>
              <p:nvPr userDrawn="1"/>
            </p:nvSpPr>
            <p:spPr>
              <a:xfrm>
                <a:off x="2993914" y="3336907"/>
                <a:ext cx="882322" cy="825518"/>
              </a:xfrm>
              <a:prstGeom prst="roundRect">
                <a:avLst>
                  <a:gd name="adj" fmla="val 2012"/>
                </a:avLst>
              </a:prstGeom>
              <a:solidFill>
                <a:srgbClr val="4472C4">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pic>
          <p:nvPicPr>
            <p:cNvPr id="42" name="Picture 6" descr="White Calendar Icon #257132 - Free Icons Library"/>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897084" y="1582252"/>
              <a:ext cx="504394" cy="504392"/>
            </a:xfrm>
            <a:prstGeom prst="rect">
              <a:avLst/>
            </a:prstGeom>
            <a:noFill/>
            <a:extLst>
              <a:ext uri="{909E8E84-426E-40DD-AFC4-6F175D3DCCD1}">
                <a14:hiddenFill xmlns:a14="http://schemas.microsoft.com/office/drawing/2010/main">
                  <a:solidFill>
                    <a:srgbClr val="FFFFFF"/>
                  </a:solidFill>
                </a14:hiddenFill>
              </a:ext>
            </a:extLst>
          </p:spPr>
        </p:pic>
      </p:grpSp>
      <p:sp>
        <p:nvSpPr>
          <p:cNvPr id="47" name="Rectangle 46"/>
          <p:cNvSpPr/>
          <p:nvPr/>
        </p:nvSpPr>
        <p:spPr>
          <a:xfrm>
            <a:off x="1967513" y="1663220"/>
            <a:ext cx="3519233" cy="830997"/>
          </a:xfrm>
          <a:prstGeom prst="rect">
            <a:avLst/>
          </a:prstGeom>
        </p:spPr>
        <p:txBody>
          <a:bodyPr wrap="square" lIns="91440" tIns="45720" rIns="91440" bIns="45720" anchor="t">
            <a:spAutoFit/>
          </a:bodyPr>
          <a:lstStyle/>
          <a:p>
            <a:r>
              <a:rPr lang="en-GB" sz="1600" b="1">
                <a:solidFill>
                  <a:schemeClr val="bg1"/>
                </a:solidFill>
                <a:latin typeface="Verdana"/>
                <a:ea typeface="Verdana"/>
                <a:cs typeface="Calibri"/>
              </a:rPr>
              <a:t>Launch</a:t>
            </a:r>
            <a:r>
              <a:rPr lang="en-GB" sz="1600">
                <a:solidFill>
                  <a:schemeClr val="bg1"/>
                </a:solidFill>
                <a:latin typeface="Verdana"/>
                <a:ea typeface="Verdana"/>
                <a:cs typeface="Calibri"/>
              </a:rPr>
              <a:t>             30 March 2023</a:t>
            </a:r>
            <a:endParaRPr lang="en-GB" sz="1400">
              <a:solidFill>
                <a:schemeClr val="bg1"/>
              </a:solidFill>
              <a:latin typeface="Verdana" panose="020B0604030504040204" pitchFamily="34" charset="0"/>
              <a:ea typeface="Verdana" panose="020B0604030504040204" pitchFamily="34" charset="0"/>
              <a:cs typeface="Calibri" panose="020F0502020204030204" pitchFamily="34" charset="0"/>
            </a:endParaRPr>
          </a:p>
          <a:p>
            <a:r>
              <a:rPr lang="en-GB" sz="1600" b="1">
                <a:solidFill>
                  <a:schemeClr val="bg1"/>
                </a:solidFill>
                <a:latin typeface="Verdana"/>
                <a:ea typeface="Verdana"/>
                <a:cs typeface="Calibri"/>
              </a:rPr>
              <a:t>Deadline           </a:t>
            </a:r>
            <a:r>
              <a:rPr lang="en-GB" sz="1400">
                <a:solidFill>
                  <a:schemeClr val="bg1"/>
                </a:solidFill>
                <a:latin typeface="Verdana"/>
                <a:ea typeface="Verdana"/>
                <a:cs typeface="Calibri"/>
              </a:rPr>
              <a:t>19 Sept. 2023</a:t>
            </a:r>
            <a:endParaRPr lang="en-GB" sz="1400">
              <a:solidFill>
                <a:schemeClr val="bg1"/>
              </a:solidFill>
              <a:latin typeface="Verdana" panose="020B0604030504040204" pitchFamily="34" charset="0"/>
              <a:ea typeface="Verdana" panose="020B0604030504040204" pitchFamily="34" charset="0"/>
              <a:cs typeface="Calibri" panose="020F0502020204030204" pitchFamily="34" charset="0"/>
            </a:endParaRPr>
          </a:p>
          <a:p>
            <a:r>
              <a:rPr lang="en-GB" sz="1600" b="1">
                <a:solidFill>
                  <a:schemeClr val="bg1"/>
                </a:solidFill>
                <a:latin typeface="Verdana"/>
                <a:ea typeface="Verdana"/>
                <a:cs typeface="Calibri"/>
              </a:rPr>
              <a:t>Results</a:t>
            </a:r>
            <a:r>
              <a:rPr lang="en-GB" sz="1400" b="1">
                <a:solidFill>
                  <a:schemeClr val="bg1"/>
                </a:solidFill>
                <a:latin typeface="Verdana"/>
                <a:ea typeface="Verdana"/>
                <a:cs typeface="Calibri"/>
              </a:rPr>
              <a:t>                </a:t>
            </a:r>
            <a:r>
              <a:rPr lang="en-GB" sz="1400">
                <a:solidFill>
                  <a:schemeClr val="bg1"/>
                </a:solidFill>
                <a:latin typeface="Verdana"/>
                <a:ea typeface="Verdana"/>
                <a:cs typeface="Calibri"/>
              </a:rPr>
              <a:t>Q4 2023</a:t>
            </a:r>
            <a:endParaRPr lang="en-US" sz="1400" b="1">
              <a:solidFill>
                <a:schemeClr val="bg1"/>
              </a:solidFill>
              <a:latin typeface="Verdana"/>
              <a:ea typeface="Verdana"/>
              <a:cs typeface="Calibri"/>
            </a:endParaRPr>
          </a:p>
        </p:txBody>
      </p:sp>
      <p:grpSp>
        <p:nvGrpSpPr>
          <p:cNvPr id="48" name="Group 47"/>
          <p:cNvGrpSpPr/>
          <p:nvPr/>
        </p:nvGrpSpPr>
        <p:grpSpPr>
          <a:xfrm>
            <a:off x="995884" y="3169195"/>
            <a:ext cx="4387879" cy="958868"/>
            <a:chOff x="2274654" y="4406035"/>
            <a:chExt cx="4387879" cy="958868"/>
          </a:xfrm>
        </p:grpSpPr>
        <p:grpSp>
          <p:nvGrpSpPr>
            <p:cNvPr id="49" name="Group 48"/>
            <p:cNvGrpSpPr/>
            <p:nvPr userDrawn="1"/>
          </p:nvGrpSpPr>
          <p:grpSpPr>
            <a:xfrm>
              <a:off x="2274654" y="4406035"/>
              <a:ext cx="4387879" cy="958868"/>
              <a:chOff x="2993914" y="3270232"/>
              <a:chExt cx="4387879" cy="958868"/>
            </a:xfrm>
          </p:grpSpPr>
          <p:sp>
            <p:nvSpPr>
              <p:cNvPr id="51" name="Rounded Rectangle 50"/>
              <p:cNvSpPr/>
              <p:nvPr userDrawn="1"/>
            </p:nvSpPr>
            <p:spPr>
              <a:xfrm>
                <a:off x="3759995" y="3270232"/>
                <a:ext cx="3621798" cy="958868"/>
              </a:xfrm>
              <a:prstGeom prst="roundRect">
                <a:avLst>
                  <a:gd name="adj" fmla="val 2012"/>
                </a:avLst>
              </a:prstGeom>
              <a:solidFill>
                <a:srgbClr val="45AF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Rounded Rectangle 51"/>
              <p:cNvSpPr/>
              <p:nvPr userDrawn="1"/>
            </p:nvSpPr>
            <p:spPr>
              <a:xfrm>
                <a:off x="2993914" y="3336907"/>
                <a:ext cx="882322" cy="825518"/>
              </a:xfrm>
              <a:prstGeom prst="roundRect">
                <a:avLst>
                  <a:gd name="adj" fmla="val 2012"/>
                </a:avLst>
              </a:prstGeom>
              <a:solidFill>
                <a:srgbClr val="42A4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 name="Isosceles Triangle 52"/>
              <p:cNvSpPr>
                <a:spLocks noChangeAspect="1"/>
              </p:cNvSpPr>
              <p:nvPr userDrawn="1"/>
            </p:nvSpPr>
            <p:spPr>
              <a:xfrm rot="5400000">
                <a:off x="3759861" y="3282739"/>
                <a:ext cx="112580" cy="109821"/>
              </a:xfrm>
              <a:prstGeom prst="triangle">
                <a:avLst/>
              </a:prstGeom>
              <a:solidFill>
                <a:srgbClr val="42A4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 name="Isosceles Triangle 53"/>
              <p:cNvSpPr>
                <a:spLocks noChangeAspect="1"/>
              </p:cNvSpPr>
              <p:nvPr userDrawn="1"/>
            </p:nvSpPr>
            <p:spPr>
              <a:xfrm rot="5400000">
                <a:off x="3759861" y="4105134"/>
                <a:ext cx="112580" cy="109821"/>
              </a:xfrm>
              <a:prstGeom prst="triangle">
                <a:avLst/>
              </a:prstGeom>
              <a:solidFill>
                <a:srgbClr val="42A4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pic>
          <p:nvPicPr>
            <p:cNvPr id="50" name="Picture 49"/>
            <p:cNvPicPr>
              <a:picLocks noChangeAspect="1"/>
            </p:cNvPicPr>
            <p:nvPr userDrawn="1"/>
          </p:nvPicPr>
          <p:blipFill>
            <a:blip r:embed="rId4" cstate="print">
              <a:extLst>
                <a:ext uri="{BEBA8EAE-BF5A-486C-A8C5-ECC9F3942E4B}">
                  <a14:imgProps xmlns:a14="http://schemas.microsoft.com/office/drawing/2010/main">
                    <a14:imgLayer r:embed="rId5">
                      <a14:imgEffect>
                        <a14:backgroundRemoval t="444" b="89778" l="9778" r="97778">
                          <a14:foregroundMark x1="64889" y1="24889" x2="64444" y2="24889"/>
                          <a14:foregroundMark x1="60889" y1="24000" x2="60889" y2="24000"/>
                          <a14:foregroundMark x1="54222" y1="24000" x2="54222" y2="24000"/>
                          <a14:foregroundMark x1="53778" y1="24000" x2="53778" y2="24000"/>
                          <a14:foregroundMark x1="52000" y1="24889" x2="52000" y2="24889"/>
                          <a14:foregroundMark x1="73333" y1="20889" x2="73333" y2="20889"/>
                          <a14:foregroundMark x1="46222" y1="26222" x2="40889" y2="35111"/>
                          <a14:foregroundMark x1="34667" y1="46222" x2="41333" y2="63111"/>
                          <a14:foregroundMark x1="47556" y1="72444" x2="57778" y2="78667"/>
                        </a14:backgroundRemoval>
                      </a14:imgEffect>
                    </a14:imgLayer>
                  </a14:imgProps>
                </a:ext>
                <a:ext uri="{28A0092B-C50C-407E-A947-70E740481C1C}">
                  <a14:useLocalDpi xmlns:a14="http://schemas.microsoft.com/office/drawing/2010/main" val="0"/>
                </a:ext>
              </a:extLst>
            </a:blip>
            <a:stretch>
              <a:fillRect/>
            </a:stretch>
          </p:blipFill>
          <p:spPr>
            <a:xfrm>
              <a:off x="2340653" y="4512285"/>
              <a:ext cx="750324" cy="750324"/>
            </a:xfrm>
            <a:prstGeom prst="rect">
              <a:avLst/>
            </a:prstGeom>
          </p:spPr>
        </p:pic>
      </p:grpSp>
      <p:sp>
        <p:nvSpPr>
          <p:cNvPr id="55" name="Rectangle 54"/>
          <p:cNvSpPr/>
          <p:nvPr/>
        </p:nvSpPr>
        <p:spPr>
          <a:xfrm>
            <a:off x="1967514" y="3161756"/>
            <a:ext cx="3316593" cy="769441"/>
          </a:xfrm>
          <a:prstGeom prst="rect">
            <a:avLst/>
          </a:prstGeom>
        </p:spPr>
        <p:txBody>
          <a:bodyPr wrap="square" lIns="91440" tIns="45720" rIns="91440" bIns="45720" anchor="t">
            <a:spAutoFit/>
          </a:bodyPr>
          <a:lstStyle/>
          <a:p>
            <a:pPr algn="ctr"/>
            <a:r>
              <a:rPr lang="en-GB" sz="1600" b="1">
                <a:solidFill>
                  <a:schemeClr val="bg1"/>
                </a:solidFill>
                <a:latin typeface="Verdana"/>
                <a:ea typeface="Verdana"/>
                <a:cs typeface="Calibri"/>
              </a:rPr>
              <a:t>€ 100 Million for grants </a:t>
            </a:r>
            <a:endParaRPr lang="en-GB" sz="1600" b="1">
              <a:solidFill>
                <a:schemeClr val="bg1"/>
              </a:solidFill>
              <a:latin typeface="Verdana" panose="020B0604030504040204" pitchFamily="34" charset="0"/>
              <a:ea typeface="Verdana" panose="020B0604030504040204" pitchFamily="34" charset="0"/>
              <a:cs typeface="Calibri" panose="020F0502020204030204" pitchFamily="34" charset="0"/>
            </a:endParaRPr>
          </a:p>
          <a:p>
            <a:pPr algn="ctr"/>
            <a:r>
              <a:rPr lang="en-GB" sz="1400">
                <a:solidFill>
                  <a:schemeClr val="bg1"/>
                </a:solidFill>
                <a:latin typeface="Verdana"/>
                <a:ea typeface="Verdana"/>
                <a:cs typeface="Calibri"/>
              </a:rPr>
              <a:t>+ </a:t>
            </a:r>
            <a:endParaRPr lang="en-GB" sz="1400">
              <a:solidFill>
                <a:schemeClr val="bg1"/>
              </a:solidFill>
              <a:latin typeface="Verdana" panose="020B0604030504040204" pitchFamily="34" charset="0"/>
              <a:ea typeface="Verdana" panose="020B0604030504040204" pitchFamily="34" charset="0"/>
              <a:cs typeface="Calibri" panose="020F0502020204030204" pitchFamily="34" charset="0"/>
            </a:endParaRPr>
          </a:p>
          <a:p>
            <a:pPr algn="ctr"/>
            <a:r>
              <a:rPr lang="en-GB" sz="1400">
                <a:solidFill>
                  <a:schemeClr val="bg1"/>
                </a:solidFill>
                <a:latin typeface="Verdana"/>
                <a:ea typeface="Verdana"/>
                <a:cs typeface="Calibri"/>
              </a:rPr>
              <a:t>Project Development Assistance</a:t>
            </a:r>
          </a:p>
        </p:txBody>
      </p:sp>
      <p:sp>
        <p:nvSpPr>
          <p:cNvPr id="56" name="Rectangle 55"/>
          <p:cNvSpPr/>
          <p:nvPr/>
        </p:nvSpPr>
        <p:spPr>
          <a:xfrm>
            <a:off x="1839919" y="4884101"/>
            <a:ext cx="3316593" cy="400110"/>
          </a:xfrm>
          <a:prstGeom prst="rect">
            <a:avLst/>
          </a:prstGeom>
        </p:spPr>
        <p:txBody>
          <a:bodyPr wrap="square" lIns="91440" tIns="45720" rIns="91440" bIns="45720" anchor="t">
            <a:spAutoFit/>
          </a:bodyPr>
          <a:lstStyle/>
          <a:p>
            <a:pPr algn="ctr"/>
            <a:r>
              <a:rPr lang="en-US" sz="2000" b="1">
                <a:solidFill>
                  <a:schemeClr val="bg1"/>
                </a:solidFill>
                <a:latin typeface="Calibri"/>
                <a:cs typeface="Calibri"/>
              </a:rPr>
              <a:t>Call text</a:t>
            </a:r>
          </a:p>
        </p:txBody>
      </p:sp>
      <p:sp>
        <p:nvSpPr>
          <p:cNvPr id="57" name="Rectangle 56"/>
          <p:cNvSpPr/>
          <p:nvPr/>
        </p:nvSpPr>
        <p:spPr>
          <a:xfrm>
            <a:off x="5926906" y="2021113"/>
            <a:ext cx="5680376" cy="2046714"/>
          </a:xfrm>
          <a:prstGeom prst="rect">
            <a:avLst/>
          </a:prstGeom>
        </p:spPr>
        <p:txBody>
          <a:bodyPr wrap="square">
            <a:spAutoFit/>
          </a:bodyPr>
          <a:lstStyle/>
          <a:p>
            <a:pPr>
              <a:spcAft>
                <a:spcPts val="600"/>
              </a:spcAft>
            </a:pPr>
            <a:r>
              <a:rPr lang="en-IE" sz="1400" b="1">
                <a:solidFill>
                  <a:srgbClr val="E7E6E6">
                    <a:lumMod val="50000"/>
                  </a:srgbClr>
                </a:solidFill>
                <a:latin typeface="Verdana" panose="020B0604030504040204" pitchFamily="34" charset="0"/>
                <a:ea typeface="Verdana" panose="020B0604030504040204" pitchFamily="34" charset="0"/>
              </a:rPr>
              <a:t>Degree of innovation</a:t>
            </a:r>
          </a:p>
          <a:p>
            <a:pPr>
              <a:spcAft>
                <a:spcPts val="600"/>
              </a:spcAft>
              <a:buFont typeface="Arial" panose="020B0604020202020204" pitchFamily="34" charset="0"/>
              <a:buNone/>
            </a:pPr>
            <a:r>
              <a:rPr lang="en-IE" sz="1400" b="1">
                <a:solidFill>
                  <a:srgbClr val="E7E6E6">
                    <a:lumMod val="50000"/>
                  </a:srgbClr>
                </a:solidFill>
                <a:latin typeface="Verdana" panose="020B0604030504040204" pitchFamily="34" charset="0"/>
                <a:ea typeface="Verdana" panose="020B0604030504040204" pitchFamily="34" charset="0"/>
              </a:rPr>
              <a:t>GHG emission avoidance*</a:t>
            </a:r>
          </a:p>
          <a:p>
            <a:pPr>
              <a:spcAft>
                <a:spcPts val="600"/>
              </a:spcAft>
            </a:pPr>
            <a:r>
              <a:rPr lang="en-IE" sz="1400" b="1">
                <a:solidFill>
                  <a:srgbClr val="E7E6E6">
                    <a:lumMod val="50000"/>
                  </a:srgbClr>
                </a:solidFill>
                <a:latin typeface="Verdana" panose="020B0604030504040204" pitchFamily="34" charset="0"/>
                <a:ea typeface="Verdana" panose="020B0604030504040204" pitchFamily="34" charset="0"/>
              </a:rPr>
              <a:t>Project maturity</a:t>
            </a:r>
          </a:p>
          <a:p>
            <a:pPr>
              <a:spcAft>
                <a:spcPts val="600"/>
              </a:spcAft>
            </a:pPr>
            <a:r>
              <a:rPr lang="en-IE" sz="1400" b="1">
                <a:solidFill>
                  <a:srgbClr val="E7E6E6">
                    <a:lumMod val="50000"/>
                  </a:srgbClr>
                </a:solidFill>
                <a:latin typeface="Verdana" panose="020B0604030504040204" pitchFamily="34" charset="0"/>
                <a:ea typeface="Verdana" panose="020B0604030504040204" pitchFamily="34" charset="0"/>
              </a:rPr>
              <a:t>Scalability</a:t>
            </a:r>
          </a:p>
          <a:p>
            <a:pPr>
              <a:spcAft>
                <a:spcPts val="600"/>
              </a:spcAft>
              <a:buFont typeface="Arial" panose="020B0604020202020204" pitchFamily="34" charset="0"/>
              <a:buNone/>
            </a:pPr>
            <a:r>
              <a:rPr lang="en-IE" sz="1400" b="1">
                <a:solidFill>
                  <a:srgbClr val="E7E6E6">
                    <a:lumMod val="50000"/>
                  </a:srgbClr>
                </a:solidFill>
                <a:latin typeface="Verdana" panose="020B0604030504040204" pitchFamily="34" charset="0"/>
                <a:ea typeface="Verdana" panose="020B0604030504040204" pitchFamily="34" charset="0"/>
              </a:rPr>
              <a:t>Cost efficiency </a:t>
            </a:r>
          </a:p>
          <a:p>
            <a:pPr>
              <a:buFont typeface="Arial" panose="020B0604020202020204" pitchFamily="34" charset="0"/>
              <a:buNone/>
            </a:pPr>
            <a:endParaRPr lang="en-IE" sz="800" b="1">
              <a:solidFill>
                <a:srgbClr val="E7E6E6">
                  <a:lumMod val="50000"/>
                </a:srgbClr>
              </a:solidFill>
              <a:latin typeface="Verdana" panose="020B0604030504040204" pitchFamily="34" charset="0"/>
              <a:ea typeface="Verdana" panose="020B0604030504040204" pitchFamily="34" charset="0"/>
            </a:endParaRPr>
          </a:p>
          <a:p>
            <a:pPr>
              <a:buFont typeface="Arial" panose="020B0604020202020204" pitchFamily="34" charset="0"/>
              <a:buNone/>
            </a:pPr>
            <a:r>
              <a:rPr lang="en-IE" sz="1200">
                <a:solidFill>
                  <a:srgbClr val="E7E6E6">
                    <a:lumMod val="50000"/>
                  </a:srgbClr>
                </a:solidFill>
                <a:latin typeface="Verdana" panose="020B0604030504040204" pitchFamily="34" charset="0"/>
                <a:ea typeface="Verdana" panose="020B0604030504040204" pitchFamily="34" charset="0"/>
              </a:rPr>
              <a:t>*incl. quality of calculations, net carbon removals and other GHG emission savings (bonus point)</a:t>
            </a:r>
          </a:p>
        </p:txBody>
      </p:sp>
      <p:sp>
        <p:nvSpPr>
          <p:cNvPr id="58" name="Rectangle 57"/>
          <p:cNvSpPr/>
          <p:nvPr/>
        </p:nvSpPr>
        <p:spPr>
          <a:xfrm>
            <a:off x="5926906" y="4699149"/>
            <a:ext cx="5437780" cy="1508105"/>
          </a:xfrm>
          <a:prstGeom prst="rect">
            <a:avLst/>
          </a:prstGeom>
        </p:spPr>
        <p:txBody>
          <a:bodyPr wrap="square" lIns="91440" tIns="45720" rIns="91440" bIns="45720" anchor="t">
            <a:spAutoFit/>
          </a:bodyPr>
          <a:lstStyle/>
          <a:p>
            <a:pPr>
              <a:buFont typeface="Arial" panose="020B0604020202020204" pitchFamily="34" charset="0"/>
              <a:buNone/>
              <a:defRPr/>
            </a:pPr>
            <a:r>
              <a:rPr lang="en-IE" sz="1400" b="1">
                <a:solidFill>
                  <a:srgbClr val="E7E6E6">
                    <a:lumMod val="50000"/>
                  </a:srgbClr>
                </a:solidFill>
                <a:latin typeface="Verdana" panose="020B0604030504040204" pitchFamily="34" charset="0"/>
                <a:ea typeface="Verdana" panose="020B0604030504040204" pitchFamily="34" charset="0"/>
              </a:rPr>
              <a:t>LUMP-SUM contribution</a:t>
            </a:r>
          </a:p>
          <a:p>
            <a:pPr>
              <a:defRPr/>
            </a:pPr>
            <a:r>
              <a:rPr lang="en-US" sz="1400" b="1">
                <a:solidFill>
                  <a:srgbClr val="E7E6E6">
                    <a:lumMod val="50000"/>
                  </a:srgbClr>
                </a:solidFill>
                <a:latin typeface="Verdana" panose="020B0604030504040204" pitchFamily="34" charset="0"/>
                <a:ea typeface="Verdana" panose="020B0604030504040204" pitchFamily="34" charset="0"/>
              </a:rPr>
              <a:t>grant up to 60% of relevant costs</a:t>
            </a:r>
          </a:p>
          <a:p>
            <a:pPr>
              <a:buFont typeface="Arial" panose="020B0604020202020204" pitchFamily="34" charset="0"/>
              <a:buNone/>
              <a:defRPr/>
            </a:pPr>
            <a:endParaRPr lang="en-US" sz="800" b="1">
              <a:solidFill>
                <a:schemeClr val="tx1">
                  <a:lumMod val="50000"/>
                </a:schemeClr>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defRPr/>
            </a:pPr>
            <a:r>
              <a:rPr lang="en-US" sz="1400">
                <a:solidFill>
                  <a:schemeClr val="tx1">
                    <a:lumMod val="75000"/>
                  </a:schemeClr>
                </a:solidFill>
                <a:latin typeface="Verdana"/>
                <a:ea typeface="Verdana"/>
              </a:rPr>
              <a:t>up to 40% of grant at financial close</a:t>
            </a:r>
          </a:p>
          <a:p>
            <a:pPr marL="285750" indent="-285750">
              <a:buFont typeface="Arial" panose="020B0604020202020204" pitchFamily="34" charset="0"/>
              <a:buChar char="•"/>
              <a:defRPr/>
            </a:pPr>
            <a:r>
              <a:rPr lang="en-IE" sz="1400">
                <a:solidFill>
                  <a:schemeClr val="tx1">
                    <a:lumMod val="75000"/>
                  </a:schemeClr>
                </a:solidFill>
                <a:latin typeface="Verdana"/>
                <a:ea typeface="Verdana"/>
              </a:rPr>
              <a:t>remaining amount of at least 60% after financial close</a:t>
            </a:r>
          </a:p>
          <a:p>
            <a:pPr marL="285750" indent="-285750">
              <a:buFont typeface="Arial" panose="020B0604020202020204" pitchFamily="34" charset="0"/>
              <a:buChar char="•"/>
              <a:defRPr/>
            </a:pPr>
            <a:r>
              <a:rPr lang="en-IE" sz="1400">
                <a:solidFill>
                  <a:schemeClr val="tx1">
                    <a:lumMod val="75000"/>
                  </a:schemeClr>
                </a:solidFill>
                <a:latin typeface="Verdana"/>
                <a:ea typeface="Verdana"/>
              </a:rPr>
              <a:t>generally, at least 10% after Entry into operation. </a:t>
            </a:r>
            <a:endParaRPr lang="en-GB" sz="1400">
              <a:solidFill>
                <a:schemeClr val="tx1">
                  <a:lumMod val="75000"/>
                </a:schemeClr>
              </a:solidFill>
              <a:latin typeface="Verdana" panose="020B0604030504040204" pitchFamily="34" charset="0"/>
              <a:ea typeface="Verdana" panose="020B0604030504040204" pitchFamily="34" charset="0"/>
            </a:endParaRPr>
          </a:p>
          <a:p>
            <a:pPr algn="ctr">
              <a:buFont typeface="Arial" panose="020B0604020202020204" pitchFamily="34" charset="0"/>
              <a:buNone/>
              <a:defRPr/>
            </a:pPr>
            <a:endParaRPr lang="en-US" sz="1400">
              <a:solidFill>
                <a:schemeClr val="tx1">
                  <a:lumMod val="50000"/>
                </a:schemeClr>
              </a:solidFill>
              <a:latin typeface="Verdana" panose="020B0604030504040204" pitchFamily="34" charset="0"/>
              <a:ea typeface="Verdana" panose="020B0604030504040204" pitchFamily="34" charset="0"/>
            </a:endParaRPr>
          </a:p>
        </p:txBody>
      </p:sp>
      <p:grpSp>
        <p:nvGrpSpPr>
          <p:cNvPr id="59" name="Group 58"/>
          <p:cNvGrpSpPr/>
          <p:nvPr/>
        </p:nvGrpSpPr>
        <p:grpSpPr>
          <a:xfrm>
            <a:off x="5821141" y="1540455"/>
            <a:ext cx="5665181" cy="2525718"/>
            <a:chOff x="6707117" y="1343536"/>
            <a:chExt cx="5125019" cy="2782151"/>
          </a:xfrm>
        </p:grpSpPr>
        <p:sp>
          <p:nvSpPr>
            <p:cNvPr id="60" name="Rounded Rectangle 59"/>
            <p:cNvSpPr/>
            <p:nvPr userDrawn="1"/>
          </p:nvSpPr>
          <p:spPr>
            <a:xfrm>
              <a:off x="6709633" y="1343536"/>
              <a:ext cx="5122503" cy="531279"/>
            </a:xfrm>
            <a:prstGeom prst="roundRect">
              <a:avLst>
                <a:gd name="adj" fmla="val 50000"/>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AWARD CRITERIA</a:t>
              </a:r>
            </a:p>
          </p:txBody>
        </p:sp>
        <p:sp>
          <p:nvSpPr>
            <p:cNvPr id="61" name="Rounded Rectangle 60"/>
            <p:cNvSpPr/>
            <p:nvPr userDrawn="1"/>
          </p:nvSpPr>
          <p:spPr>
            <a:xfrm>
              <a:off x="6707117" y="1343536"/>
              <a:ext cx="5114133" cy="2782151"/>
            </a:xfrm>
            <a:prstGeom prst="roundRect">
              <a:avLst>
                <a:gd name="adj" fmla="val 11287"/>
              </a:avLst>
            </a:prstGeom>
            <a:noFill/>
            <a:ln w="1270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62" name="Group 61"/>
          <p:cNvGrpSpPr/>
          <p:nvPr/>
        </p:nvGrpSpPr>
        <p:grpSpPr>
          <a:xfrm>
            <a:off x="5790990" y="4204621"/>
            <a:ext cx="5662400" cy="1825330"/>
            <a:chOff x="6705556" y="4434369"/>
            <a:chExt cx="5122503" cy="1406176"/>
          </a:xfrm>
        </p:grpSpPr>
        <p:sp>
          <p:nvSpPr>
            <p:cNvPr id="63" name="Rounded Rectangle 62"/>
            <p:cNvSpPr/>
            <p:nvPr userDrawn="1"/>
          </p:nvSpPr>
          <p:spPr>
            <a:xfrm>
              <a:off x="6705556" y="4434369"/>
              <a:ext cx="5122503" cy="386863"/>
            </a:xfrm>
            <a:prstGeom prst="roundRect">
              <a:avLst>
                <a:gd name="adj" fmla="val 50000"/>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GRANT DISTRIBUTION</a:t>
              </a:r>
            </a:p>
          </p:txBody>
        </p:sp>
        <p:sp>
          <p:nvSpPr>
            <p:cNvPr id="64" name="Rounded Rectangle 63"/>
            <p:cNvSpPr/>
            <p:nvPr userDrawn="1"/>
          </p:nvSpPr>
          <p:spPr>
            <a:xfrm>
              <a:off x="6707117" y="4548490"/>
              <a:ext cx="5114133" cy="1292055"/>
            </a:xfrm>
            <a:prstGeom prst="roundRect">
              <a:avLst>
                <a:gd name="adj" fmla="val 11287"/>
              </a:avLst>
            </a:prstGeom>
            <a:noFill/>
            <a:ln w="12700" cap="flat" cmpd="sng" algn="ctr">
              <a:solidFill>
                <a:srgbClr val="5B9BD5">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pic>
        <p:nvPicPr>
          <p:cNvPr id="1028" name="Picture 4" descr="Magnifier + Flashlight - Apps op Google Pla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5884" y="4781197"/>
            <a:ext cx="768784" cy="768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042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7">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FFFFF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Corporate_PPT_Template" id="{9E25CBC4-264C-4E5F-8DDF-C73C2B944108}" vid="{63966CC3-CC63-46CF-BE8C-07ABBDCD6229}"/>
    </a:ext>
  </a:extLst>
</a:theme>
</file>

<file path=ppt/theme/theme2.xml><?xml version="1.0" encoding="utf-8"?>
<a:theme xmlns:a="http://schemas.openxmlformats.org/drawingml/2006/main" name="1_Office Theme">
  <a:themeElements>
    <a:clrScheme name="Custom 2">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FFFFFF"/>
      </a:hlink>
      <a:folHlink>
        <a:srgbClr val="FFFFF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75000"/>
          </a:schemeClr>
        </a:solidFill>
      </a:spPr>
      <a:bodyPr lIns="91440" tIns="45720" rIns="91440" bIns="45720" rtlCol="0" anchor="ctr"/>
      <a:lstStyle>
        <a:defPPr>
          <a:defRPr sz="1200" b="1" u="sng">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C_Corporate_PPT_Template" id="{9E25CBC4-264C-4E5F-8DDF-C73C2B944108}" vid="{63966CC3-CC63-46CF-BE8C-07ABBDCD622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F1B87D5ABF651429579392F313233BD" ma:contentTypeVersion="15" ma:contentTypeDescription="Create a new document." ma:contentTypeScope="" ma:versionID="91856e09e62edd6377c0adbf98b4c241">
  <xsd:schema xmlns:xsd="http://www.w3.org/2001/XMLSchema" xmlns:xs="http://www.w3.org/2001/XMLSchema" xmlns:p="http://schemas.microsoft.com/office/2006/metadata/properties" xmlns:ns2="b2332242-72eb-4c56-ab66-572cc47fcb14" xmlns:ns3="97c12176-f42e-47a4-9c39-4993e896fb64" targetNamespace="http://schemas.microsoft.com/office/2006/metadata/properties" ma:root="true" ma:fieldsID="8a90a97237fcaa793308ed33fd1a8048" ns2:_="" ns3:_="">
    <xsd:import namespace="b2332242-72eb-4c56-ab66-572cc47fcb14"/>
    <xsd:import namespace="97c12176-f42e-47a4-9c39-4993e896fb6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332242-72eb-4c56-ab66-572cc47fcb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2b2fad6-9d2c-441c-a321-3f5f1e9bd928"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c12176-f42e-47a4-9c39-4993e896fb6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3e8bd90-4574-45f3-b4f2-6769390f9bb4}" ma:internalName="TaxCatchAll" ma:showField="CatchAllData" ma:web="97c12176-f42e-47a4-9c39-4993e896fb64">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7c12176-f42e-47a4-9c39-4993e896fb64"/>
    <lcf76f155ced4ddcb4097134ff3c332f xmlns="b2332242-72eb-4c56-ab66-572cc47fcb1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4E7B449-7F24-47F2-B885-C8ED73C8A37A}">
  <ds:schemaRefs>
    <ds:schemaRef ds:uri="http://schemas.microsoft.com/sharepoint/v3/contenttype/forms"/>
  </ds:schemaRefs>
</ds:datastoreItem>
</file>

<file path=customXml/itemProps2.xml><?xml version="1.0" encoding="utf-8"?>
<ds:datastoreItem xmlns:ds="http://schemas.openxmlformats.org/officeDocument/2006/customXml" ds:itemID="{EF89179C-8662-4E4E-95A2-9189F77FF7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332242-72eb-4c56-ab66-572cc47fcb14"/>
    <ds:schemaRef ds:uri="97c12176-f42e-47a4-9c39-4993e896fb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41DA845-630B-41C2-B199-E98437DAAB2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b2332242-72eb-4c56-ab66-572cc47fcb14"/>
    <ds:schemaRef ds:uri="http://purl.org/dc/terms/"/>
    <ds:schemaRef ds:uri="http://schemas.openxmlformats.org/package/2006/metadata/core-properties"/>
    <ds:schemaRef ds:uri="97c12176-f42e-47a4-9c39-4993e896fb6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96</TotalTime>
  <Words>1310</Words>
  <Application>Microsoft Office PowerPoint</Application>
  <PresentationFormat>Grand écran</PresentationFormat>
  <Paragraphs>178</Paragraphs>
  <Slides>15</Slides>
  <Notes>7</Notes>
  <HiddenSlides>0</HiddenSlides>
  <MMClips>0</MMClips>
  <ScaleCrop>false</ScaleCrop>
  <HeadingPairs>
    <vt:vector size="8" baseType="variant">
      <vt:variant>
        <vt:lpstr>Polices utilisées</vt:lpstr>
      </vt:variant>
      <vt:variant>
        <vt:i4>8</vt:i4>
      </vt:variant>
      <vt:variant>
        <vt:lpstr>Thème</vt:lpstr>
      </vt:variant>
      <vt:variant>
        <vt:i4>2</vt:i4>
      </vt:variant>
      <vt:variant>
        <vt:lpstr>Serveurs OLE incorporés</vt:lpstr>
      </vt:variant>
      <vt:variant>
        <vt:i4>1</vt:i4>
      </vt:variant>
      <vt:variant>
        <vt:lpstr>Titres des diapositives</vt:lpstr>
      </vt:variant>
      <vt:variant>
        <vt:i4>15</vt:i4>
      </vt:variant>
    </vt:vector>
  </HeadingPairs>
  <TitlesOfParts>
    <vt:vector size="26" baseType="lpstr">
      <vt:lpstr>Arial</vt:lpstr>
      <vt:lpstr>Calibri</vt:lpstr>
      <vt:lpstr>DM Sans Medium</vt:lpstr>
      <vt:lpstr>EC Square Sans Pro</vt:lpstr>
      <vt:lpstr>Frutiger LT Com 75 Black</vt:lpstr>
      <vt:lpstr>Montserrat</vt:lpstr>
      <vt:lpstr>Verdana</vt:lpstr>
      <vt:lpstr>Wingdings</vt:lpstr>
      <vt:lpstr>1_Office Theme</vt:lpstr>
      <vt:lpstr>1_Office Theme</vt:lpstr>
      <vt:lpstr>think-cell Folie</vt:lpstr>
      <vt:lpstr>REPowerEU – financial opportunities for research and innovation </vt:lpstr>
      <vt:lpstr>Outline of presenation</vt:lpstr>
      <vt:lpstr>Présentation PowerPoint</vt:lpstr>
      <vt:lpstr>Présentation PowerPoint</vt:lpstr>
      <vt:lpstr>Innovation Fund results in a glance</vt:lpstr>
      <vt:lpstr>Key changes to the Innovation Fund following the ETS Directive revision</vt:lpstr>
      <vt:lpstr>RePowerEU Plan</vt:lpstr>
      <vt:lpstr>Closure of 3LSC: First results</vt:lpstr>
      <vt:lpstr>2022 small-scale call for projects: key features</vt:lpstr>
      <vt:lpstr>European Hydrogen Bank</vt:lpstr>
      <vt:lpstr>Market-based instrument with a lean procedure</vt:lpstr>
      <vt:lpstr>2023 pilot auctio</vt:lpstr>
      <vt:lpstr>Look into the future: potential to expand auctions beyond hydrogen sector, and as a service for Member States</vt:lpstr>
      <vt:lpstr>Implementation Timeline 2023</vt:lpstr>
      <vt:lpstr>Where to find more informa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vim Aktas</dc:creator>
  <cp:lastModifiedBy>Firsova Yulia</cp:lastModifiedBy>
  <cp:revision>36</cp:revision>
  <cp:lastPrinted>2022-02-02T07:31:28Z</cp:lastPrinted>
  <dcterms:created xsi:type="dcterms:W3CDTF">2020-11-04T10:13:54Z</dcterms:created>
  <dcterms:modified xsi:type="dcterms:W3CDTF">2023-05-24T14:2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1B87D5ABF651429579392F313233BD</vt:lpwstr>
  </property>
  <property fmtid="{D5CDD505-2E9C-101B-9397-08002B2CF9AE}" pid="3" name="IsMyDocuments">
    <vt:bool>true</vt:bool>
  </property>
  <property fmtid="{D5CDD505-2E9C-101B-9397-08002B2CF9AE}" pid="4" name="MediaServiceImageTags">
    <vt:lpwstr/>
  </property>
  <property fmtid="{D5CDD505-2E9C-101B-9397-08002B2CF9AE}" pid="5" name="MSIP_Label_6bd9ddd1-4d20-43f6-abfa-fc3c07406f94_Enabled">
    <vt:lpwstr>true</vt:lpwstr>
  </property>
  <property fmtid="{D5CDD505-2E9C-101B-9397-08002B2CF9AE}" pid="6" name="MSIP_Label_6bd9ddd1-4d20-43f6-abfa-fc3c07406f94_SetDate">
    <vt:lpwstr>2022-12-01T16:54:07Z</vt:lpwstr>
  </property>
  <property fmtid="{D5CDD505-2E9C-101B-9397-08002B2CF9AE}" pid="7" name="MSIP_Label_6bd9ddd1-4d20-43f6-abfa-fc3c07406f94_Method">
    <vt:lpwstr>Standard</vt:lpwstr>
  </property>
  <property fmtid="{D5CDD505-2E9C-101B-9397-08002B2CF9AE}" pid="8" name="MSIP_Label_6bd9ddd1-4d20-43f6-abfa-fc3c07406f94_Name">
    <vt:lpwstr>Commission Use</vt:lpwstr>
  </property>
  <property fmtid="{D5CDD505-2E9C-101B-9397-08002B2CF9AE}" pid="9" name="MSIP_Label_6bd9ddd1-4d20-43f6-abfa-fc3c07406f94_SiteId">
    <vt:lpwstr>b24c8b06-522c-46fe-9080-70926f8dddb1</vt:lpwstr>
  </property>
  <property fmtid="{D5CDD505-2E9C-101B-9397-08002B2CF9AE}" pid="10" name="MSIP_Label_6bd9ddd1-4d20-43f6-abfa-fc3c07406f94_ActionId">
    <vt:lpwstr>cae5d133-b718-42c8-a401-0b74a37da445</vt:lpwstr>
  </property>
  <property fmtid="{D5CDD505-2E9C-101B-9397-08002B2CF9AE}" pid="11" name="MSIP_Label_6bd9ddd1-4d20-43f6-abfa-fc3c07406f94_ContentBits">
    <vt:lpwstr>0</vt:lpwstr>
  </property>
</Properties>
</file>